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4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5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6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937" r:id="rId4"/>
    <p:sldMasterId id="2147483903" r:id="rId5"/>
    <p:sldMasterId id="2147483951" r:id="rId6"/>
    <p:sldMasterId id="2147484018" r:id="rId7"/>
    <p:sldMasterId id="2147484088" r:id="rId8"/>
    <p:sldMasterId id="2147484117" r:id="rId9"/>
    <p:sldMasterId id="2147484198" r:id="rId10"/>
  </p:sldMasterIdLst>
  <p:notesMasterIdLst>
    <p:notesMasterId r:id="rId23"/>
  </p:notesMasterIdLst>
  <p:handoutMasterIdLst>
    <p:handoutMasterId r:id="rId24"/>
  </p:handoutMasterIdLst>
  <p:sldIdLst>
    <p:sldId id="2198" r:id="rId11"/>
    <p:sldId id="2204" r:id="rId12"/>
    <p:sldId id="2207" r:id="rId13"/>
    <p:sldId id="2195" r:id="rId14"/>
    <p:sldId id="2097" r:id="rId15"/>
    <p:sldId id="2174" r:id="rId16"/>
    <p:sldId id="2194" r:id="rId17"/>
    <p:sldId id="2206" r:id="rId18"/>
    <p:sldId id="2169" r:id="rId19"/>
    <p:sldId id="2170" r:id="rId20"/>
    <p:sldId id="2205" r:id="rId21"/>
    <p:sldId id="2199" r:id="rId22"/>
  </p:sldIdLst>
  <p:sldSz cx="12192000" cy="6858000"/>
  <p:notesSz cx="7010400" cy="9296400"/>
  <p:embeddedFontLst>
    <p:embeddedFont>
      <p:font typeface="Calibri" panose="020F0502020204030204" pitchFamily="34" charset="0"/>
      <p:regular r:id="rId25"/>
      <p:bold r:id="rId26"/>
      <p:italic r:id="rId27"/>
      <p:boldItalic r:id="rId28"/>
    </p:embeddedFont>
    <p:embeddedFont>
      <p:font typeface="Calibri Light" panose="020F0302020204030204" pitchFamily="34" charset="0"/>
      <p:regular r:id="rId29"/>
      <p:italic r:id="rId30"/>
    </p:embeddedFont>
    <p:embeddedFont>
      <p:font typeface="Century Gothic" panose="020B0502020202020204" pitchFamily="34" charset="0"/>
      <p:regular r:id="rId31"/>
      <p:bold r:id="rId32"/>
      <p:italic r:id="rId33"/>
      <p:boldItalic r:id="rId34"/>
    </p:embeddedFont>
    <p:embeddedFont>
      <p:font typeface="Gadugi" panose="020B0502040204020203" pitchFamily="34" charset="0"/>
      <p:regular r:id="rId35"/>
      <p:bold r:id="rId36"/>
    </p:embeddedFont>
    <p:embeddedFont>
      <p:font typeface="Helvetica" panose="020B0604020202020204" pitchFamily="34" charset="0"/>
      <p:regular r:id="rId37"/>
      <p:bold r:id="rId38"/>
      <p:italic r:id="rId39"/>
      <p:boldItalic r:id="rId40"/>
    </p:embeddedFont>
    <p:embeddedFont>
      <p:font typeface="Open Sans Light" panose="020B0306030504020204" pitchFamily="34" charset="0"/>
      <p:regular r:id="rId41"/>
      <p:bold r:id="rId42"/>
      <p:italic r:id="rId43"/>
      <p:boldItalic r:id="rId44"/>
    </p:embeddedFont>
    <p:embeddedFont>
      <p:font typeface="Segoe UI Black" panose="020B0A02040204020203" pitchFamily="34" charset="0"/>
      <p:bold r:id="rId45"/>
      <p:boldItalic r:id="rId46"/>
    </p:embeddedFont>
    <p:embeddedFont>
      <p:font typeface="Trebuchet MS" panose="020B0603020202020204" pitchFamily="34" charset="0"/>
      <p:regular r:id="rId47"/>
      <p:bold r:id="rId48"/>
      <p:italic r:id="rId49"/>
      <p:boldItalic r:id="rId50"/>
    </p:embeddedFont>
  </p:embeddedFontLst>
  <p:custDataLst>
    <p:tags r:id="rId5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1">
          <p15:clr>
            <a:srgbClr val="A4A3A4"/>
          </p15:clr>
        </p15:guide>
        <p15:guide id="3" pos="384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5875"/>
    <a:srgbClr val="0782C4"/>
    <a:srgbClr val="00639C"/>
    <a:srgbClr val="000000"/>
    <a:srgbClr val="3084AF"/>
    <a:srgbClr val="22658C"/>
    <a:srgbClr val="CAD82A"/>
    <a:srgbClr val="FFFFFF"/>
    <a:srgbClr val="03959E"/>
    <a:srgbClr val="0094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E25E649-3F16-4E02-A733-19D2CDBF48F0}" styleName="Estilo Médio 3 - Ênfase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Estilo Médio 2 - Ênfas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2" autoAdjust="0"/>
    <p:restoredTop sz="96547" autoAdjust="0"/>
  </p:normalViewPr>
  <p:slideViewPr>
    <p:cSldViewPr snapToGrid="0">
      <p:cViewPr varScale="1">
        <p:scale>
          <a:sx n="72" d="100"/>
          <a:sy n="72" d="100"/>
        </p:scale>
        <p:origin x="660" y="66"/>
      </p:cViewPr>
      <p:guideLst>
        <p:guide orient="horz" pos="2160"/>
        <p:guide pos="3841"/>
        <p:guide pos="3842"/>
      </p:guideLst>
    </p:cSldViewPr>
  </p:slideViewPr>
  <p:outlineViewPr>
    <p:cViewPr>
      <p:scale>
        <a:sx n="33" d="100"/>
        <a:sy n="33" d="100"/>
      </p:scale>
      <p:origin x="0" y="856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Grid="0">
      <p:cViewPr varScale="1">
        <p:scale>
          <a:sx n="47" d="100"/>
          <a:sy n="47" d="100"/>
        </p:scale>
        <p:origin x="2784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font" Target="fonts/font2.fntdata"/><Relationship Id="rId39" Type="http://schemas.openxmlformats.org/officeDocument/2006/relationships/font" Target="fonts/font15.fntdata"/><Relationship Id="rId21" Type="http://schemas.openxmlformats.org/officeDocument/2006/relationships/slide" Target="slides/slide11.xml"/><Relationship Id="rId34" Type="http://schemas.openxmlformats.org/officeDocument/2006/relationships/font" Target="fonts/font10.fntdata"/><Relationship Id="rId42" Type="http://schemas.openxmlformats.org/officeDocument/2006/relationships/font" Target="fonts/font18.fntdata"/><Relationship Id="rId47" Type="http://schemas.openxmlformats.org/officeDocument/2006/relationships/font" Target="fonts/font23.fntdata"/><Relationship Id="rId50" Type="http://schemas.openxmlformats.org/officeDocument/2006/relationships/font" Target="fonts/font26.fntdata"/><Relationship Id="rId55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9" Type="http://schemas.openxmlformats.org/officeDocument/2006/relationships/font" Target="fonts/font5.fntdata"/><Relationship Id="rId11" Type="http://schemas.openxmlformats.org/officeDocument/2006/relationships/slide" Target="slides/slide1.xml"/><Relationship Id="rId24" Type="http://schemas.openxmlformats.org/officeDocument/2006/relationships/handoutMaster" Target="handoutMasters/handoutMaster1.xml"/><Relationship Id="rId32" Type="http://schemas.openxmlformats.org/officeDocument/2006/relationships/font" Target="fonts/font8.fntdata"/><Relationship Id="rId37" Type="http://schemas.openxmlformats.org/officeDocument/2006/relationships/font" Target="fonts/font13.fntdata"/><Relationship Id="rId40" Type="http://schemas.openxmlformats.org/officeDocument/2006/relationships/font" Target="fonts/font16.fntdata"/><Relationship Id="rId45" Type="http://schemas.openxmlformats.org/officeDocument/2006/relationships/font" Target="fonts/font21.fntdata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font" Target="fonts/font7.fntdata"/><Relationship Id="rId44" Type="http://schemas.openxmlformats.org/officeDocument/2006/relationships/font" Target="fonts/font20.fntdata"/><Relationship Id="rId52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font" Target="fonts/font3.fntdata"/><Relationship Id="rId30" Type="http://schemas.openxmlformats.org/officeDocument/2006/relationships/font" Target="fonts/font6.fntdata"/><Relationship Id="rId35" Type="http://schemas.openxmlformats.org/officeDocument/2006/relationships/font" Target="fonts/font11.fntdata"/><Relationship Id="rId43" Type="http://schemas.openxmlformats.org/officeDocument/2006/relationships/font" Target="fonts/font19.fntdata"/><Relationship Id="rId48" Type="http://schemas.openxmlformats.org/officeDocument/2006/relationships/font" Target="fonts/font24.fntdata"/><Relationship Id="rId8" Type="http://schemas.openxmlformats.org/officeDocument/2006/relationships/slideMaster" Target="slideMasters/slideMaster5.xml"/><Relationship Id="rId51" Type="http://schemas.openxmlformats.org/officeDocument/2006/relationships/tags" Target="tags/tag1.xml"/><Relationship Id="rId3" Type="http://schemas.openxmlformats.org/officeDocument/2006/relationships/customXml" Target="../customXml/item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font" Target="fonts/font1.fntdata"/><Relationship Id="rId33" Type="http://schemas.openxmlformats.org/officeDocument/2006/relationships/font" Target="fonts/font9.fntdata"/><Relationship Id="rId38" Type="http://schemas.openxmlformats.org/officeDocument/2006/relationships/font" Target="fonts/font14.fntdata"/><Relationship Id="rId46" Type="http://schemas.openxmlformats.org/officeDocument/2006/relationships/font" Target="fonts/font22.fntdata"/><Relationship Id="rId20" Type="http://schemas.openxmlformats.org/officeDocument/2006/relationships/slide" Target="slides/slide10.xml"/><Relationship Id="rId41" Type="http://schemas.openxmlformats.org/officeDocument/2006/relationships/font" Target="fonts/font17.fntdata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5.xml"/><Relationship Id="rId23" Type="http://schemas.openxmlformats.org/officeDocument/2006/relationships/notesMaster" Target="notesMasters/notesMaster1.xml"/><Relationship Id="rId28" Type="http://schemas.openxmlformats.org/officeDocument/2006/relationships/font" Target="fonts/font4.fntdata"/><Relationship Id="rId36" Type="http://schemas.openxmlformats.org/officeDocument/2006/relationships/font" Target="fonts/font12.fntdata"/><Relationship Id="rId49" Type="http://schemas.openxmlformats.org/officeDocument/2006/relationships/font" Target="fonts/font25.fntdata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6217949628562575E-2"/>
          <c:y val="0.15464896401406983"/>
          <c:w val="0.82983389842091582"/>
          <c:h val="0.7023833937329213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Índice de Realização de Expansação em Geração</c:v>
                </c:pt>
              </c:strCache>
            </c:strRef>
          </c:tx>
          <c:spPr>
            <a:solidFill>
              <a:schemeClr val="bg2"/>
            </a:solidFill>
          </c:spPr>
          <c:invertIfNegative val="0"/>
          <c:dPt>
            <c:idx val="2"/>
            <c:invertIfNegative val="0"/>
            <c:bubble3D val="0"/>
            <c:spPr>
              <a:solidFill>
                <a:srgbClr val="CAD82A"/>
              </a:solidFill>
            </c:spPr>
            <c:extLst>
              <c:ext xmlns:c16="http://schemas.microsoft.com/office/drawing/2014/chart" uri="{C3380CC4-5D6E-409C-BE32-E72D297353CC}">
                <c16:uniqueId val="{00000001-87EF-44A6-9CE5-D79A72725B10}"/>
              </c:ext>
            </c:extLst>
          </c:dPt>
          <c:dLbls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10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DF7D-4E3C-9137-95F579E9D394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10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87EF-44A6-9CE5-D79A72725B10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Realizado 2021</c:v>
                </c:pt>
                <c:pt idx="1">
                  <c:v>Realizado 2022</c:v>
                </c:pt>
                <c:pt idx="2">
                  <c:v>Meta 2022</c:v>
                </c:pt>
              </c:strCache>
            </c:strRef>
          </c:cat>
          <c:val>
            <c:numRef>
              <c:f>Sheet1!$B$2:$B$4</c:f>
              <c:numCache>
                <c:formatCode>_(* #,##0.00_);_(* \(#,##0.00\);_(* "-"??_);_(@_)</c:formatCode>
                <c:ptCount val="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F7D-4E3C-9137-95F579E9D3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11817488"/>
        <c:axId val="311817880"/>
      </c:barChart>
      <c:catAx>
        <c:axId val="31181748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txPr>
          <a:bodyPr/>
          <a:lstStyle/>
          <a:p>
            <a:pPr>
              <a:defRPr sz="1100"/>
            </a:pPr>
            <a:endParaRPr lang="pt-BR"/>
          </a:p>
        </c:txPr>
        <c:crossAx val="311817880"/>
        <c:crossesAt val="0"/>
        <c:auto val="1"/>
        <c:lblAlgn val="ctr"/>
        <c:lblOffset val="100"/>
        <c:noMultiLvlLbl val="0"/>
      </c:catAx>
      <c:valAx>
        <c:axId val="311817880"/>
        <c:scaling>
          <c:orientation val="minMax"/>
          <c:max val="12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pt-BR"/>
          </a:p>
        </c:txPr>
        <c:crossAx val="311817488"/>
        <c:crosses val="autoZero"/>
        <c:crossBetween val="between"/>
        <c:majorUnit val="500"/>
      </c:valAx>
      <c:spPr>
        <a:noFill/>
        <a:ln w="25404">
          <a:noFill/>
        </a:ln>
      </c:spPr>
    </c:plotArea>
    <c:plotVisOnly val="1"/>
    <c:dispBlanksAs val="gap"/>
    <c:showDLblsOverMax val="0"/>
  </c:chart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pt-BR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3985635088085501E-2"/>
          <c:y val="0.19046769769312413"/>
          <c:w val="0.82983389842091582"/>
          <c:h val="0.71284238313862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MSO</c:v>
                </c:pt>
              </c:strCache>
            </c:strRef>
          </c:tx>
          <c:invertIfNegative val="0"/>
          <c:cat>
            <c:strRef>
              <c:f>Sheet1!$A$2:$A$4</c:f>
              <c:strCache>
                <c:ptCount val="3"/>
                <c:pt idx="0">
                  <c:v>Realizado 2021</c:v>
                </c:pt>
                <c:pt idx="1">
                  <c:v>Realizado 2022</c:v>
                </c:pt>
                <c:pt idx="2">
                  <c:v>Meta 2022</c:v>
                </c:pt>
              </c:strCache>
            </c:strRef>
          </c:cat>
          <c:val>
            <c:numRef>
              <c:f>Sheet1!$B$2:$B$4</c:f>
            </c:numRef>
          </c:val>
          <c:extLst>
            <c:ext xmlns:c16="http://schemas.microsoft.com/office/drawing/2014/chart" uri="{C3380CC4-5D6E-409C-BE32-E72D297353CC}">
              <c16:uniqueId val="{00000000-47E6-4DF8-8631-7B498C47709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OL</c:v>
                </c:pt>
              </c:strCache>
            </c:strRef>
          </c:tx>
          <c:invertIfNegative val="0"/>
          <c:cat>
            <c:strRef>
              <c:f>Sheet1!$A$2:$A$4</c:f>
              <c:strCache>
                <c:ptCount val="3"/>
                <c:pt idx="0">
                  <c:v>Realizado 2021</c:v>
                </c:pt>
                <c:pt idx="1">
                  <c:v>Realizado 2022</c:v>
                </c:pt>
                <c:pt idx="2">
                  <c:v>Meta 2022</c:v>
                </c:pt>
              </c:strCache>
            </c:strRef>
          </c:cat>
          <c:val>
            <c:numRef>
              <c:f>Sheet1!$C$2:$C$4</c:f>
            </c:numRef>
          </c:val>
          <c:extLst>
            <c:ext xmlns:c16="http://schemas.microsoft.com/office/drawing/2014/chart" uri="{C3380CC4-5D6E-409C-BE32-E72D297353CC}">
              <c16:uniqueId val="{00000001-47E6-4DF8-8631-7B498C47709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ceita de Serviços/ROL (%)</c:v>
                </c:pt>
              </c:strCache>
            </c:strRef>
          </c:tx>
          <c:spPr>
            <a:solidFill>
              <a:schemeClr val="bg2"/>
            </a:solidFill>
          </c:spPr>
          <c:invertIfNegative val="0"/>
          <c:dPt>
            <c:idx val="2"/>
            <c:invertIfNegative val="0"/>
            <c:bubble3D val="0"/>
            <c:spPr>
              <a:solidFill>
                <a:srgbClr val="CAD82A"/>
              </a:soli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>
                    <a:solidFill>
                      <a:schemeClr val="tx1"/>
                    </a:solidFill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4</c:f>
              <c:strCache>
                <c:ptCount val="3"/>
                <c:pt idx="0">
                  <c:v>Realizado 2021</c:v>
                </c:pt>
                <c:pt idx="1">
                  <c:v>Realizado 2022</c:v>
                </c:pt>
                <c:pt idx="2">
                  <c:v>Meta 2022</c:v>
                </c:pt>
              </c:strCache>
            </c:strRef>
          </c:cat>
          <c:val>
            <c:numRef>
              <c:f>Sheet1!$D$2:$D$4</c:f>
              <c:numCache>
                <c:formatCode>_(* #,##0.00_);_(* \(#,##0.00\);_(* "-"??_);_(@_)</c:formatCode>
                <c:ptCount val="3"/>
                <c:pt idx="0">
                  <c:v>0.28999999999999998</c:v>
                </c:pt>
                <c:pt idx="1">
                  <c:v>0.59</c:v>
                </c:pt>
                <c:pt idx="2">
                  <c:v>1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7E6-4DF8-8631-7B498C4770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10039584"/>
        <c:axId val="310039976"/>
      </c:barChart>
      <c:catAx>
        <c:axId val="31003958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txPr>
          <a:bodyPr/>
          <a:lstStyle/>
          <a:p>
            <a:pPr>
              <a:defRPr sz="1100"/>
            </a:pPr>
            <a:endParaRPr lang="pt-BR"/>
          </a:p>
        </c:txPr>
        <c:crossAx val="310039976"/>
        <c:crossesAt val="0"/>
        <c:auto val="1"/>
        <c:lblAlgn val="ctr"/>
        <c:lblOffset val="100"/>
        <c:noMultiLvlLbl val="0"/>
      </c:catAx>
      <c:valAx>
        <c:axId val="310039976"/>
        <c:scaling>
          <c:orientation val="minMax"/>
          <c:max val="1.5"/>
          <c:min val="0"/>
        </c:scaling>
        <c:delete val="0"/>
        <c:axPos val="l"/>
        <c:numFmt formatCode="#,##0.0" sourceLinked="0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pt-BR"/>
          </a:p>
        </c:txPr>
        <c:crossAx val="310039584"/>
        <c:crosses val="autoZero"/>
        <c:crossBetween val="between"/>
        <c:majorUnit val="0.30000000000000004"/>
      </c:valAx>
      <c:spPr>
        <a:noFill/>
        <a:ln w="25404">
          <a:noFill/>
        </a:ln>
      </c:spPr>
    </c:plotArea>
    <c:plotVisOnly val="1"/>
    <c:dispBlanksAs val="gap"/>
    <c:showDLblsOverMax val="0"/>
  </c:chart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pt-BR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3985635088085501E-2"/>
          <c:y val="0.15242910581263447"/>
          <c:w val="0.82983389842091582"/>
          <c:h val="0.71284238313862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MSO</c:v>
                </c:pt>
              </c:strCache>
            </c:strRef>
          </c:tx>
          <c:invertIfNegative val="0"/>
          <c:cat>
            <c:strRef>
              <c:f>Sheet1!$A$2:$A$4</c:f>
              <c:strCache>
                <c:ptCount val="3"/>
                <c:pt idx="0">
                  <c:v>Realizado 2021</c:v>
                </c:pt>
                <c:pt idx="1">
                  <c:v>Realizado 2022</c:v>
                </c:pt>
                <c:pt idx="2">
                  <c:v>Meta 2022</c:v>
                </c:pt>
              </c:strCache>
            </c:strRef>
          </c:cat>
          <c:val>
            <c:numRef>
              <c:f>Sheet1!$B$2:$B$4</c:f>
            </c:numRef>
          </c:val>
          <c:extLst>
            <c:ext xmlns:c16="http://schemas.microsoft.com/office/drawing/2014/chart" uri="{C3380CC4-5D6E-409C-BE32-E72D297353CC}">
              <c16:uniqueId val="{00000000-3933-4338-A40C-113BE7D13A7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OL</c:v>
                </c:pt>
              </c:strCache>
            </c:strRef>
          </c:tx>
          <c:invertIfNegative val="0"/>
          <c:cat>
            <c:strRef>
              <c:f>Sheet1!$A$2:$A$4</c:f>
              <c:strCache>
                <c:ptCount val="3"/>
                <c:pt idx="0">
                  <c:v>Realizado 2021</c:v>
                </c:pt>
                <c:pt idx="1">
                  <c:v>Realizado 2022</c:v>
                </c:pt>
                <c:pt idx="2">
                  <c:v>Meta 2022</c:v>
                </c:pt>
              </c:strCache>
            </c:strRef>
          </c:cat>
          <c:val>
            <c:numRef>
              <c:f>Sheet1!$C$2:$C$4</c:f>
            </c:numRef>
          </c:val>
          <c:extLst>
            <c:ext xmlns:c16="http://schemas.microsoft.com/office/drawing/2014/chart" uri="{C3380CC4-5D6E-409C-BE32-E72D297353CC}">
              <c16:uniqueId val="{00000001-3933-4338-A40C-113BE7D13A7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ceita de Serviços/ROL (%)</c:v>
                </c:pt>
              </c:strCache>
            </c:strRef>
          </c:tx>
          <c:spPr>
            <a:solidFill>
              <a:schemeClr val="bg2"/>
            </a:solidFill>
          </c:spPr>
          <c:invertIfNegative val="0"/>
          <c:dPt>
            <c:idx val="2"/>
            <c:invertIfNegative val="0"/>
            <c:bubble3D val="0"/>
            <c:spPr>
              <a:solidFill>
                <a:srgbClr val="CAD82A"/>
              </a:soli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>
                    <a:solidFill>
                      <a:schemeClr val="tx1"/>
                    </a:solidFill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4</c:f>
              <c:strCache>
                <c:ptCount val="3"/>
                <c:pt idx="0">
                  <c:v>Realizado 2021</c:v>
                </c:pt>
                <c:pt idx="1">
                  <c:v>Realizado 2022</c:v>
                </c:pt>
                <c:pt idx="2">
                  <c:v>Meta 2022</c:v>
                </c:pt>
              </c:strCache>
            </c:strRef>
          </c:cat>
          <c:val>
            <c:numRef>
              <c:f>Sheet1!$D$2:$D$4</c:f>
              <c:numCache>
                <c:formatCode>_(* #,##0.00_);_(* \(#,##0.00\);_(* "-"??_);_(@_)</c:formatCode>
                <c:ptCount val="3"/>
                <c:pt idx="0">
                  <c:v>2.73</c:v>
                </c:pt>
                <c:pt idx="1">
                  <c:v>3.98</c:v>
                </c:pt>
                <c:pt idx="2">
                  <c:v>1.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933-4338-A40C-113BE7D13A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12565664"/>
        <c:axId val="312566056"/>
      </c:barChart>
      <c:catAx>
        <c:axId val="31256566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txPr>
          <a:bodyPr/>
          <a:lstStyle/>
          <a:p>
            <a:pPr>
              <a:defRPr sz="1100"/>
            </a:pPr>
            <a:endParaRPr lang="pt-BR"/>
          </a:p>
        </c:txPr>
        <c:crossAx val="312566056"/>
        <c:crossesAt val="0"/>
        <c:auto val="1"/>
        <c:lblAlgn val="ctr"/>
        <c:lblOffset val="100"/>
        <c:noMultiLvlLbl val="0"/>
      </c:catAx>
      <c:valAx>
        <c:axId val="312566056"/>
        <c:scaling>
          <c:orientation val="minMax"/>
          <c:max val="6"/>
          <c:min val="0"/>
        </c:scaling>
        <c:delete val="0"/>
        <c:axPos val="l"/>
        <c:numFmt formatCode="#,##0.0" sourceLinked="0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pt-BR"/>
          </a:p>
        </c:txPr>
        <c:crossAx val="312565664"/>
        <c:crosses val="autoZero"/>
        <c:crossBetween val="between"/>
        <c:majorUnit val="0.5"/>
      </c:valAx>
      <c:spPr>
        <a:noFill/>
        <a:ln w="25404">
          <a:noFill/>
        </a:ln>
      </c:spPr>
    </c:plotArea>
    <c:plotVisOnly val="1"/>
    <c:dispBlanksAs val="gap"/>
    <c:showDLblsOverMax val="0"/>
  </c:chart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pt-BR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6217949628562575E-2"/>
          <c:y val="0.15525505444011398"/>
          <c:w val="0.82983389842091582"/>
          <c:h val="0.7023833937329213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nas1</c:v>
                </c:pt>
              </c:strCache>
            </c:strRef>
          </c:tx>
          <c:spPr>
            <a:solidFill>
              <a:schemeClr val="bg2"/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rgbClr val="CAD82A"/>
              </a:solidFill>
            </c:spPr>
            <c:extLst>
              <c:ext xmlns:c16="http://schemas.microsoft.com/office/drawing/2014/chart" uri="{C3380CC4-5D6E-409C-BE32-E72D297353CC}">
                <c16:uniqueId val="{00000002-B4F2-4534-8832-40CE27EBD92C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1475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1A20-4C72-B123-77711BEE6E1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250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B4F2-4534-8832-40CE27EBD92C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Realizado 2022</c:v>
                </c:pt>
                <c:pt idx="1">
                  <c:v>Meta 2022</c:v>
                </c:pt>
              </c:strCache>
            </c:strRef>
          </c:cat>
          <c:val>
            <c:numRef>
              <c:f>Sheet1!$B$2:$B$3</c:f>
              <c:numCache>
                <c:formatCode>_(* #,##0.00_);_(* \(#,##0.00\);_(* "-"??_);_(@_)</c:formatCode>
                <c:ptCount val="2"/>
                <c:pt idx="0">
                  <c:v>14750</c:v>
                </c:pt>
                <c:pt idx="1">
                  <c:v>2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DE7-43EF-9F61-05326C1FA6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11816312"/>
        <c:axId val="311816704"/>
      </c:barChart>
      <c:catAx>
        <c:axId val="3118163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txPr>
          <a:bodyPr/>
          <a:lstStyle/>
          <a:p>
            <a:pPr>
              <a:defRPr sz="1100"/>
            </a:pPr>
            <a:endParaRPr lang="pt-BR"/>
          </a:p>
        </c:txPr>
        <c:crossAx val="311816704"/>
        <c:crossesAt val="0"/>
        <c:auto val="1"/>
        <c:lblAlgn val="ctr"/>
        <c:lblOffset val="100"/>
        <c:noMultiLvlLbl val="0"/>
      </c:catAx>
      <c:valAx>
        <c:axId val="311816704"/>
        <c:scaling>
          <c:orientation val="minMax"/>
          <c:max val="15000"/>
        </c:scaling>
        <c:delete val="0"/>
        <c:axPos val="l"/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pt-BR"/>
          </a:p>
        </c:txPr>
        <c:crossAx val="311816312"/>
        <c:crosses val="autoZero"/>
        <c:crossBetween val="between"/>
        <c:majorUnit val="3000"/>
        <c:minorUnit val="0.5"/>
      </c:valAx>
      <c:spPr>
        <a:noFill/>
        <a:ln w="25404">
          <a:noFill/>
        </a:ln>
      </c:spPr>
    </c:plotArea>
    <c:plotVisOnly val="1"/>
    <c:dispBlanksAs val="gap"/>
    <c:showDLblsOverMax val="0"/>
  </c:chart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pt-BR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6218018855198804E-2"/>
          <c:y val="7.2893833048917236E-2"/>
          <c:w val="0.82983389842091582"/>
          <c:h val="0.71284238313862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aboradores treinados em combate a corrupção</c:v>
                </c:pt>
              </c:strCache>
            </c:strRef>
          </c:tx>
          <c:spPr>
            <a:solidFill>
              <a:schemeClr val="bg2"/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rgbClr val="CAD82A"/>
              </a:solidFill>
            </c:spPr>
            <c:extLst>
              <c:ext xmlns:c16="http://schemas.microsoft.com/office/drawing/2014/chart" uri="{C3380CC4-5D6E-409C-BE32-E72D297353CC}">
                <c16:uniqueId val="{00000001-98D0-4F7F-9069-56747179A94D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33,54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98D0-4F7F-9069-56747179A94D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31,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98D0-4F7F-9069-56747179A94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>
                    <a:solidFill>
                      <a:schemeClr val="tx1"/>
                    </a:solidFill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Realizado 2022</c:v>
                </c:pt>
                <c:pt idx="1">
                  <c:v>Meta 2022</c:v>
                </c:pt>
              </c:strCache>
            </c:strRef>
          </c:cat>
          <c:val>
            <c:numRef>
              <c:f>Sheet1!$B$2:$B$3</c:f>
              <c:numCache>
                <c:formatCode>_(* #,##0.00_);_(* \(#,##0.00\);_(* "-"??_);_(@_)</c:formatCode>
                <c:ptCount val="2"/>
                <c:pt idx="0" formatCode="0.00">
                  <c:v>33.54</c:v>
                </c:pt>
                <c:pt idx="1">
                  <c:v>3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8D0-4F7F-9069-56747179A9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16739112"/>
        <c:axId val="316739504"/>
      </c:barChart>
      <c:catAx>
        <c:axId val="3167391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txPr>
          <a:bodyPr/>
          <a:lstStyle/>
          <a:p>
            <a:pPr>
              <a:defRPr sz="1100"/>
            </a:pPr>
            <a:endParaRPr lang="pt-BR"/>
          </a:p>
        </c:txPr>
        <c:crossAx val="316739504"/>
        <c:crossesAt val="0"/>
        <c:auto val="1"/>
        <c:lblAlgn val="ctr"/>
        <c:lblOffset val="100"/>
        <c:noMultiLvlLbl val="0"/>
      </c:catAx>
      <c:valAx>
        <c:axId val="316739504"/>
        <c:scaling>
          <c:orientation val="minMax"/>
          <c:max val="40"/>
          <c:min val="0"/>
        </c:scaling>
        <c:delete val="0"/>
        <c:axPos val="l"/>
        <c:numFmt formatCode="#,##0.0" sourceLinked="0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pt-BR"/>
          </a:p>
        </c:txPr>
        <c:crossAx val="316739112"/>
        <c:crosses val="autoZero"/>
        <c:crossBetween val="between"/>
        <c:majorUnit val="10"/>
      </c:valAx>
      <c:spPr>
        <a:noFill/>
        <a:ln w="25404">
          <a:noFill/>
        </a:ln>
      </c:spPr>
    </c:plotArea>
    <c:plotVisOnly val="1"/>
    <c:dispBlanksAs val="gap"/>
    <c:showDLblsOverMax val="0"/>
  </c:chart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pt-BR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6218018855198804E-2"/>
          <c:y val="7.2893833048917236E-2"/>
          <c:w val="0.82983389842091582"/>
          <c:h val="0.71284238313862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aboradores treinados em combate a corrupção</c:v>
                </c:pt>
              </c:strCache>
            </c:strRef>
          </c:tx>
          <c:spPr>
            <a:solidFill>
              <a:schemeClr val="bg2"/>
            </a:solidFill>
          </c:spPr>
          <c:invertIfNegative val="0"/>
          <c:dPt>
            <c:idx val="2"/>
            <c:invertIfNegative val="0"/>
            <c:bubble3D val="0"/>
            <c:spPr>
              <a:solidFill>
                <a:srgbClr val="CAD82A"/>
              </a:solidFill>
            </c:spPr>
            <c:extLst>
              <c:ext xmlns:c16="http://schemas.microsoft.com/office/drawing/2014/chart" uri="{C3380CC4-5D6E-409C-BE32-E72D297353CC}">
                <c16:uniqueId val="{00000001-F944-478C-A97F-81748C7B0BAE}"/>
              </c:ext>
            </c:extLst>
          </c:dPt>
          <c:dLbls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100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F944-478C-A97F-81748C7B0B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>
                    <a:solidFill>
                      <a:schemeClr val="tx1"/>
                    </a:solidFill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Realizado 2021</c:v>
                </c:pt>
                <c:pt idx="1">
                  <c:v>Realizado 2022</c:v>
                </c:pt>
                <c:pt idx="2">
                  <c:v>Meta 2022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0">
                  <c:v>0.95</c:v>
                </c:pt>
                <c:pt idx="1">
                  <c:v>1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944-478C-A97F-81748C7B0B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16740288"/>
        <c:axId val="316740680"/>
      </c:barChart>
      <c:catAx>
        <c:axId val="31674028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txPr>
          <a:bodyPr/>
          <a:lstStyle/>
          <a:p>
            <a:pPr>
              <a:defRPr sz="1100"/>
            </a:pPr>
            <a:endParaRPr lang="pt-BR"/>
          </a:p>
        </c:txPr>
        <c:crossAx val="316740680"/>
        <c:crossesAt val="0"/>
        <c:auto val="1"/>
        <c:lblAlgn val="ctr"/>
        <c:lblOffset val="100"/>
        <c:noMultiLvlLbl val="0"/>
      </c:catAx>
      <c:valAx>
        <c:axId val="316740680"/>
        <c:scaling>
          <c:orientation val="minMax"/>
          <c:max val="1.2"/>
          <c:min val="0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pt-BR"/>
          </a:p>
        </c:txPr>
        <c:crossAx val="316740288"/>
        <c:crosses val="autoZero"/>
        <c:crossBetween val="between"/>
        <c:majorUnit val="0.2"/>
      </c:valAx>
      <c:spPr>
        <a:noFill/>
        <a:ln w="25404">
          <a:noFill/>
        </a:ln>
      </c:spPr>
    </c:plotArea>
    <c:plotVisOnly val="1"/>
    <c:dispBlanksAs val="gap"/>
    <c:showDLblsOverMax val="0"/>
  </c:chart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pt-BR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6218018855198804E-2"/>
          <c:y val="7.2893833048917236E-2"/>
          <c:w val="0.82983389842091582"/>
          <c:h val="0.71284238313862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aboradores treinados em combate a corrupção</c:v>
                </c:pt>
              </c:strCache>
            </c:strRef>
          </c:tx>
          <c:spPr>
            <a:solidFill>
              <a:schemeClr val="bg2"/>
            </a:solidFill>
          </c:spPr>
          <c:invertIfNegative val="0"/>
          <c:dPt>
            <c:idx val="2"/>
            <c:invertIfNegative val="0"/>
            <c:bubble3D val="0"/>
            <c:spPr>
              <a:solidFill>
                <a:srgbClr val="CAD82A"/>
              </a:solidFill>
            </c:spPr>
            <c:extLst>
              <c:ext xmlns:c16="http://schemas.microsoft.com/office/drawing/2014/chart" uri="{C3380CC4-5D6E-409C-BE32-E72D297353CC}">
                <c16:uniqueId val="{00000001-C080-4A2F-A674-CEC996205924}"/>
              </c:ext>
            </c:extLst>
          </c:dPt>
          <c:dLbls>
            <c:dLbl>
              <c:idx val="0"/>
              <c:numFmt formatCode="#,##0.00000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 algn="ctr">
                    <a:defRPr>
                      <a:solidFill>
                        <a:schemeClr val="tx1"/>
                      </a:solidFill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B4C7-4D88-A9EF-DA09DA116E2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pPr algn="ctr">
                      <a:defRPr>
                        <a:solidFill>
                          <a:schemeClr val="tx1"/>
                        </a:solidFill>
                      </a:defRPr>
                    </a:pPr>
                    <a:r>
                      <a:rPr lang="en-US" dirty="0"/>
                      <a:t>0,001</a:t>
                    </a:r>
                  </a:p>
                </c:rich>
              </c:tx>
              <c:numFmt formatCode="#,##0.00000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C080-4A2F-A674-CEC996205924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0,001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C080-4A2F-A674-CEC99620592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>
                    <a:solidFill>
                      <a:schemeClr val="tx1"/>
                    </a:solidFill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Realizado 2021</c:v>
                </c:pt>
                <c:pt idx="1">
                  <c:v>Realizado 2022</c:v>
                </c:pt>
                <c:pt idx="2">
                  <c:v>Meta 2022</c:v>
                </c:pt>
              </c:strCache>
            </c:strRef>
          </c:cat>
          <c:val>
            <c:numRef>
              <c:f>Sheet1!$B$2:$B$4</c:f>
              <c:numCache>
                <c:formatCode>_-* #,##0.0000_-;\-* #,##0.0000_-;_-* "-"??_-;_-@_-</c:formatCode>
                <c:ptCount val="3"/>
                <c:pt idx="0">
                  <c:v>2.9999999999999997E-4</c:v>
                </c:pt>
                <c:pt idx="1">
                  <c:v>1E-3</c:v>
                </c:pt>
                <c:pt idx="2">
                  <c:v>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45A-42FC-8C00-34025258C3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16741464"/>
        <c:axId val="316741856"/>
      </c:barChart>
      <c:catAx>
        <c:axId val="31674146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txPr>
          <a:bodyPr/>
          <a:lstStyle/>
          <a:p>
            <a:pPr>
              <a:defRPr sz="1100"/>
            </a:pPr>
            <a:endParaRPr lang="pt-BR"/>
          </a:p>
        </c:txPr>
        <c:crossAx val="316741856"/>
        <c:crossesAt val="0"/>
        <c:auto val="1"/>
        <c:lblAlgn val="ctr"/>
        <c:lblOffset val="100"/>
        <c:noMultiLvlLbl val="0"/>
      </c:catAx>
      <c:valAx>
        <c:axId val="316741856"/>
        <c:scaling>
          <c:orientation val="minMax"/>
          <c:max val="6.0000000000000019E-3"/>
          <c:min val="0"/>
        </c:scaling>
        <c:delete val="0"/>
        <c:axPos val="l"/>
        <c:numFmt formatCode="#,##0.000" sourceLinked="0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pt-BR"/>
          </a:p>
        </c:txPr>
        <c:crossAx val="316741464"/>
        <c:crosses val="autoZero"/>
        <c:crossBetween val="between"/>
        <c:majorUnit val="1.0000000000000002E-3"/>
      </c:valAx>
      <c:spPr>
        <a:noFill/>
        <a:ln w="25404">
          <a:noFill/>
        </a:ln>
      </c:spPr>
    </c:plotArea>
    <c:plotVisOnly val="1"/>
    <c:dispBlanksAs val="gap"/>
    <c:showDLblsOverMax val="0"/>
  </c:chart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pt-BR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6218018855198804E-2"/>
          <c:y val="7.2893833048917236E-2"/>
          <c:w val="0.82983389842091582"/>
          <c:h val="0.71284238313862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aboradores treinados em combate a corrupção</c:v>
                </c:pt>
              </c:strCache>
            </c:strRef>
          </c:tx>
          <c:spPr>
            <a:solidFill>
              <a:schemeClr val="bg2"/>
            </a:solidFill>
          </c:spPr>
          <c:invertIfNegative val="0"/>
          <c:dLbls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29,24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6256-4EF7-BD78-E720567504E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>
                    <a:solidFill>
                      <a:schemeClr val="tx1"/>
                    </a:solidFill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Realizado 2021</c:v>
                </c:pt>
                <c:pt idx="1">
                  <c:v>Realizado 2022</c:v>
                </c:pt>
                <c:pt idx="2">
                  <c:v>Meta 2022</c:v>
                </c:pt>
              </c:strCache>
            </c:strRef>
          </c:cat>
          <c:val>
            <c:numRef>
              <c:f>Sheet1!$B$2:$B$4</c:f>
              <c:numCache>
                <c:formatCode>0.00%</c:formatCode>
                <c:ptCount val="3"/>
                <c:pt idx="0">
                  <c:v>0.28000000000000003</c:v>
                </c:pt>
                <c:pt idx="1">
                  <c:v>0.28370000000000001</c:v>
                </c:pt>
                <c:pt idx="2">
                  <c:v>0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256-4EF7-BD78-E720567504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16742640"/>
        <c:axId val="316767312"/>
      </c:barChart>
      <c:catAx>
        <c:axId val="31674264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txPr>
          <a:bodyPr/>
          <a:lstStyle/>
          <a:p>
            <a:pPr>
              <a:defRPr sz="1100"/>
            </a:pPr>
            <a:endParaRPr lang="pt-BR"/>
          </a:p>
        </c:txPr>
        <c:crossAx val="316767312"/>
        <c:crossesAt val="0"/>
        <c:auto val="1"/>
        <c:lblAlgn val="ctr"/>
        <c:lblOffset val="100"/>
        <c:noMultiLvlLbl val="0"/>
      </c:catAx>
      <c:valAx>
        <c:axId val="316767312"/>
        <c:scaling>
          <c:orientation val="minMax"/>
          <c:max val="1.2"/>
          <c:min val="0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pt-BR"/>
          </a:p>
        </c:txPr>
        <c:crossAx val="316742640"/>
        <c:crosses val="autoZero"/>
        <c:crossBetween val="between"/>
        <c:majorUnit val="0.2"/>
      </c:valAx>
      <c:spPr>
        <a:noFill/>
        <a:ln w="25404">
          <a:noFill/>
        </a:ln>
      </c:spPr>
    </c:plotArea>
    <c:plotVisOnly val="1"/>
    <c:dispBlanksAs val="gap"/>
    <c:showDLblsOverMax val="0"/>
  </c:chart>
  <c:txPr>
    <a:bodyPr/>
    <a:lstStyle/>
    <a:p>
      <a:pPr>
        <a:defRPr sz="1200">
          <a:solidFill>
            <a:schemeClr val="tx1"/>
          </a:solidFill>
          <a:latin typeface="+mn-lt"/>
        </a:defRPr>
      </a:pPr>
      <a:endParaRPr lang="pt-BR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7D22F13-615A-486D-B79F-256BCF02EF0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BDA472A-1A54-4E0D-86F6-24208B4B54F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0AEFB15E-7CC0-4C73-BB70-E08B3B639049}" type="datetimeFigureOut">
              <a:rPr lang="en-US" smtClean="0"/>
              <a:pPr/>
              <a:t>5/19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D0A829-0A71-4F04-92FA-52F65FF8344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E0796A5-942C-49F3-9EC2-2B2FB0A032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41F8747-7B7A-45AE-ABF2-297C823104D6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64420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5C6CA9E-5436-4CF7-9CB8-90F066F351A2}" type="datetimeFigureOut">
              <a:rPr lang="en-US" smtClean="0"/>
              <a:pPr/>
              <a:t>5/1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EB52A7F-5C81-4821-8CD3-A6280853F73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771083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10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4" Type="http://schemas.openxmlformats.org/officeDocument/2006/relationships/image" Target="../media/image12.jpe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7.png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8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.bin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0.png"/><Relationship Id="rId4" Type="http://schemas.openxmlformats.org/officeDocument/2006/relationships/image" Target="../media/image19.png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4" Type="http://schemas.openxmlformats.org/officeDocument/2006/relationships/image" Target="../media/image11.png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14.png"/><Relationship Id="rId2" Type="http://schemas.openxmlformats.org/officeDocument/2006/relationships/tags" Target="../tags/tag3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0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6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4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48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8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.bin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0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0.png"/><Relationship Id="rId4" Type="http://schemas.openxmlformats.org/officeDocument/2006/relationships/image" Target="../media/image19.png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image" Target="../media/image13.png"/><Relationship Id="rId2" Type="http://schemas.openxmlformats.org/officeDocument/2006/relationships/tags" Target="../tags/tag6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image" Target="../media/image13.png"/><Relationship Id="rId2" Type="http://schemas.openxmlformats.org/officeDocument/2006/relationships/tags" Target="../tags/tag6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ertura c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35C1A9D1-CE62-4559-BC1C-FFF6756F4F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Rectangle 5"/>
          <p:cNvSpPr/>
          <p:nvPr userDrawn="1"/>
        </p:nvSpPr>
        <p:spPr>
          <a:xfrm>
            <a:off x="30" y="-4147"/>
            <a:ext cx="12192000" cy="6862177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80000"/>
                </a:schemeClr>
              </a:gs>
              <a:gs pos="100000">
                <a:schemeClr val="accent2">
                  <a:alpha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/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 flipV="1">
            <a:off x="5183220" y="-229431"/>
            <a:ext cx="7318082" cy="7377259"/>
          </a:xfrm>
          <a:prstGeom prst="rect">
            <a:avLst/>
          </a:prstGeom>
        </p:spPr>
      </p:pic>
      <p:sp>
        <p:nvSpPr>
          <p:cNvPr id="6" name="Rectangle 183"/>
          <p:cNvSpPr/>
          <p:nvPr userDrawn="1"/>
        </p:nvSpPr>
        <p:spPr>
          <a:xfrm>
            <a:off x="6473189" y="5086547"/>
            <a:ext cx="404940" cy="86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345128" y="4434605"/>
            <a:ext cx="5337915" cy="584138"/>
          </a:xfrm>
        </p:spPr>
        <p:txBody>
          <a:bodyPr/>
          <a:lstStyle>
            <a:lvl1pPr algn="l"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pt-BR" noProof="0" dirty="0"/>
              <a:t>Click p/editar o título</a:t>
            </a:r>
          </a:p>
        </p:txBody>
      </p:sp>
    </p:spTree>
    <p:extLst>
      <p:ext uri="{BB962C8B-B14F-4D97-AF65-F5344CB8AC3E}">
        <p14:creationId xmlns:p14="http://schemas.microsoft.com/office/powerpoint/2010/main" val="40357675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790720"/>
              </p:ext>
            </p:extLst>
          </p:nvPr>
        </p:nvGraphicFramePr>
        <p:xfrm>
          <a:off x="1618" y="161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8" y="161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Imagem 3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" y="-4732"/>
            <a:ext cx="12190412" cy="575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Imagem 10" descr="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750"/>
          <a:stretch>
            <a:fillRect/>
          </a:stretch>
        </p:blipFill>
        <p:spPr bwMode="auto">
          <a:xfrm>
            <a:off x="31" y="3397250"/>
            <a:ext cx="12190412" cy="3462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477216" y="6110708"/>
            <a:ext cx="6408523" cy="294579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date/</a:t>
            </a:r>
            <a:r>
              <a:rPr lang="pt-BR" dirty="0" err="1"/>
              <a:t>place</a:t>
            </a:r>
            <a:endParaRPr lang="pt-BR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77216" y="5584360"/>
            <a:ext cx="6408523" cy="286017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 err="1"/>
              <a:t>Subtitle</a:t>
            </a:r>
            <a:r>
              <a:rPr lang="pt-BR" dirty="0"/>
              <a:t> in </a:t>
            </a:r>
            <a:r>
              <a:rPr lang="pt-BR" dirty="0" err="1"/>
              <a:t>sentence</a:t>
            </a:r>
            <a:r>
              <a:rPr lang="pt-BR" dirty="0"/>
              <a:t>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77216" y="4858865"/>
            <a:ext cx="6408523" cy="725466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0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pt-BR" dirty="0" err="1"/>
              <a:t>Title</a:t>
            </a:r>
            <a:r>
              <a:rPr lang="pt-BR" dirty="0"/>
              <a:t> in </a:t>
            </a:r>
            <a:r>
              <a:rPr lang="pt-BR" dirty="0" err="1"/>
              <a:t>Title</a:t>
            </a:r>
            <a:r>
              <a:rPr lang="pt-BR" dirty="0"/>
              <a:t> Case</a:t>
            </a:r>
          </a:p>
        </p:txBody>
      </p:sp>
      <p:pic>
        <p:nvPicPr>
          <p:cNvPr id="19" name="Imagem 16" descr="04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958"/>
          <a:stretch>
            <a:fillRect/>
          </a:stretch>
        </p:blipFill>
        <p:spPr bwMode="auto">
          <a:xfrm>
            <a:off x="3214719" y="5302281"/>
            <a:ext cx="8975724" cy="155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Imagem 17" descr="05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906" b="78125"/>
          <a:stretch>
            <a:fillRect/>
          </a:stretch>
        </p:blipFill>
        <p:spPr bwMode="auto">
          <a:xfrm>
            <a:off x="8572213" y="5194330"/>
            <a:ext cx="2662238" cy="1836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5803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31" y="298690"/>
            <a:ext cx="1022668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cxnSp>
        <p:nvCxnSpPr>
          <p:cNvPr id="8" name="Conector reto 5"/>
          <p:cNvCxnSpPr/>
          <p:nvPr userDrawn="1"/>
        </p:nvCxnSpPr>
        <p:spPr>
          <a:xfrm>
            <a:off x="31" y="1208626"/>
            <a:ext cx="12190412" cy="0"/>
          </a:xfrm>
          <a:prstGeom prst="line">
            <a:avLst/>
          </a:prstGeom>
          <a:ln w="25400">
            <a:solidFill>
              <a:srgbClr val="0079C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Eletrobras-logo-transp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7508" y="471306"/>
            <a:ext cx="766336" cy="4260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6" descr="fundo2"/>
          <p:cNvPicPr>
            <a:picLocks noChangeAspect="1" noChangeArrowheads="1"/>
          </p:cNvPicPr>
          <p:nvPr userDrawn="1"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" y="6359236"/>
            <a:ext cx="12190412" cy="500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7744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30" y="-1278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pt-BR" sz="1200" dirty="0">
              <a:solidFill>
                <a:prstClr val="white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31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3284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73" y="266807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big </a:t>
            </a:r>
            <a:r>
              <a:rPr lang="pt-BR" dirty="0" err="1"/>
              <a:t>statement</a:t>
            </a:r>
            <a:r>
              <a:rPr lang="pt-BR" dirty="0"/>
              <a:t> </a:t>
            </a:r>
            <a:r>
              <a:rPr lang="pt-BR" dirty="0" err="1"/>
              <a:t>text</a:t>
            </a:r>
            <a:endParaRPr lang="pt-BR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73" y="1428161"/>
            <a:ext cx="947673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/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739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3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big </a:t>
            </a:r>
            <a:r>
              <a:rPr lang="pt-BR" dirty="0" err="1"/>
              <a:t>statement</a:t>
            </a:r>
            <a:r>
              <a:rPr lang="pt-BR" dirty="0"/>
              <a:t> </a:t>
            </a:r>
            <a:r>
              <a:rPr lang="pt-BR" dirty="0" err="1"/>
              <a:t>text</a:t>
            </a:r>
            <a:endParaRPr lang="pt-BR" dirty="0"/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929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1789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5025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31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4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/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8112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3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/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1445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100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4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94" y="-1278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091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613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29" y="0"/>
            <a:ext cx="6096002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5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icon</a:t>
            </a:r>
            <a:r>
              <a:rPr lang="pt-BR" dirty="0"/>
              <a:t> </a:t>
            </a:r>
            <a:r>
              <a:rPr lang="pt-BR" dirty="0" err="1"/>
              <a:t>below</a:t>
            </a:r>
            <a:r>
              <a:rPr lang="pt-BR" dirty="0"/>
              <a:t>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insert</a:t>
            </a:r>
            <a:r>
              <a:rPr lang="pt-BR" dirty="0"/>
              <a:t> </a:t>
            </a:r>
            <a:r>
              <a:rPr lang="pt-BR" dirty="0" err="1"/>
              <a:t>an</a:t>
            </a:r>
            <a:r>
              <a:rPr lang="pt-BR" dirty="0"/>
              <a:t> </a:t>
            </a:r>
            <a:r>
              <a:rPr lang="pt-BR" dirty="0" err="1"/>
              <a:t>image</a:t>
            </a:r>
            <a:r>
              <a:rPr lang="pt-BR" dirty="0"/>
              <a:t> </a:t>
            </a:r>
            <a:r>
              <a:rPr lang="pt-BR" dirty="0" err="1"/>
              <a:t>or</a:t>
            </a:r>
            <a:r>
              <a:rPr lang="pt-BR" dirty="0"/>
              <a:t> remove </a:t>
            </a:r>
            <a:r>
              <a:rPr lang="pt-BR" dirty="0" err="1"/>
              <a:t>this</a:t>
            </a:r>
            <a:r>
              <a:rPr lang="pt-BR" dirty="0"/>
              <a:t> </a:t>
            </a:r>
            <a:r>
              <a:rPr lang="pt-BR" dirty="0" err="1"/>
              <a:t>placeholder</a:t>
            </a:r>
            <a:r>
              <a:rPr lang="pt-BR" dirty="0"/>
              <a:t> </a:t>
            </a:r>
            <a:r>
              <a:rPr lang="pt-BR" dirty="0" err="1"/>
              <a:t>to</a:t>
            </a:r>
            <a:r>
              <a:rPr lang="pt-BR" dirty="0"/>
              <a:t> use </a:t>
            </a:r>
            <a:r>
              <a:rPr lang="pt-BR" dirty="0" err="1"/>
              <a:t>the</a:t>
            </a:r>
            <a:r>
              <a:rPr lang="pt-BR" dirty="0"/>
              <a:t> </a:t>
            </a:r>
            <a:r>
              <a:rPr lang="pt-BR" dirty="0" err="1"/>
              <a:t>whitespace</a:t>
            </a:r>
            <a:r>
              <a:rPr lang="pt-BR" dirty="0"/>
              <a:t> in </a:t>
            </a:r>
            <a:r>
              <a:rPr lang="pt-BR" dirty="0" err="1"/>
              <a:t>another</a:t>
            </a:r>
            <a:r>
              <a:rPr lang="pt-BR" dirty="0"/>
              <a:t> </a:t>
            </a:r>
            <a:r>
              <a:rPr lang="pt-BR" dirty="0" err="1"/>
              <a:t>way</a:t>
            </a:r>
            <a:endParaRPr lang="pt-BR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31" y="178563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7346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80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74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5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icon</a:t>
            </a:r>
            <a:r>
              <a:rPr lang="pt-BR" dirty="0"/>
              <a:t> </a:t>
            </a:r>
            <a:r>
              <a:rPr lang="pt-BR" dirty="0" err="1"/>
              <a:t>below</a:t>
            </a:r>
            <a:r>
              <a:rPr lang="pt-BR" dirty="0"/>
              <a:t>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insert</a:t>
            </a:r>
            <a:r>
              <a:rPr lang="pt-BR" dirty="0"/>
              <a:t> </a:t>
            </a:r>
            <a:r>
              <a:rPr lang="pt-BR" dirty="0" err="1"/>
              <a:t>an</a:t>
            </a:r>
            <a:r>
              <a:rPr lang="pt-BR" dirty="0"/>
              <a:t> </a:t>
            </a:r>
            <a:r>
              <a:rPr lang="pt-BR" dirty="0" err="1"/>
              <a:t>image</a:t>
            </a:r>
            <a:r>
              <a:rPr lang="pt-BR" dirty="0"/>
              <a:t> </a:t>
            </a:r>
            <a:r>
              <a:rPr lang="pt-BR" dirty="0" err="1"/>
              <a:t>or</a:t>
            </a:r>
            <a:r>
              <a:rPr lang="pt-BR" dirty="0"/>
              <a:t> remove </a:t>
            </a:r>
            <a:r>
              <a:rPr lang="pt-BR" dirty="0" err="1"/>
              <a:t>this</a:t>
            </a:r>
            <a:r>
              <a:rPr lang="pt-BR" dirty="0"/>
              <a:t> </a:t>
            </a:r>
            <a:r>
              <a:rPr lang="pt-BR" dirty="0" err="1"/>
              <a:t>placeholder</a:t>
            </a:r>
            <a:r>
              <a:rPr lang="pt-BR" dirty="0"/>
              <a:t> </a:t>
            </a:r>
            <a:r>
              <a:rPr lang="pt-BR" dirty="0" err="1"/>
              <a:t>to</a:t>
            </a:r>
            <a:r>
              <a:rPr lang="pt-BR" dirty="0"/>
              <a:t> use </a:t>
            </a:r>
            <a:r>
              <a:rPr lang="pt-BR" dirty="0" err="1"/>
              <a:t>the</a:t>
            </a:r>
            <a:r>
              <a:rPr lang="pt-BR" dirty="0"/>
              <a:t> </a:t>
            </a:r>
            <a:r>
              <a:rPr lang="pt-BR" dirty="0" err="1"/>
              <a:t>whitespace</a:t>
            </a:r>
            <a:r>
              <a:rPr lang="pt-BR" dirty="0"/>
              <a:t> in </a:t>
            </a:r>
            <a:r>
              <a:rPr lang="pt-BR" dirty="0" err="1"/>
              <a:t>another</a:t>
            </a:r>
            <a:r>
              <a:rPr lang="pt-BR" dirty="0"/>
              <a:t> </a:t>
            </a:r>
            <a:r>
              <a:rPr lang="pt-BR" dirty="0" err="1"/>
              <a:t>way</a:t>
            </a:r>
            <a:endParaRPr lang="pt-BR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31" y="3917292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30" y="180468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6079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bertura c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35C1A9D1-CE62-4559-BC1C-FFF6756F4F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Rectangle 5"/>
          <p:cNvSpPr/>
          <p:nvPr userDrawn="1"/>
        </p:nvSpPr>
        <p:spPr>
          <a:xfrm>
            <a:off x="30" y="-4147"/>
            <a:ext cx="12192000" cy="6862177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80000"/>
                </a:schemeClr>
              </a:gs>
              <a:gs pos="100000">
                <a:schemeClr val="accent2">
                  <a:alpha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/>
          </a:p>
        </p:txBody>
      </p:sp>
      <p:sp>
        <p:nvSpPr>
          <p:cNvPr id="6" name="Rectangle 183"/>
          <p:cNvSpPr/>
          <p:nvPr userDrawn="1"/>
        </p:nvSpPr>
        <p:spPr>
          <a:xfrm>
            <a:off x="6473189" y="5086547"/>
            <a:ext cx="404940" cy="86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345128" y="4434605"/>
            <a:ext cx="5337915" cy="584138"/>
          </a:xfrm>
        </p:spPr>
        <p:txBody>
          <a:bodyPr/>
          <a:lstStyle>
            <a:lvl1pPr algn="l"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pt-BR" noProof="0" dirty="0"/>
              <a:t>Click p/editar o título</a:t>
            </a:r>
          </a:p>
        </p:txBody>
      </p:sp>
      <p:grpSp>
        <p:nvGrpSpPr>
          <p:cNvPr id="2" name="Grupo 1"/>
          <p:cNvGrpSpPr/>
          <p:nvPr userDrawn="1"/>
        </p:nvGrpSpPr>
        <p:grpSpPr>
          <a:xfrm>
            <a:off x="30" y="6418292"/>
            <a:ext cx="4016188" cy="330804"/>
            <a:chOff x="-1" y="6418262"/>
            <a:chExt cx="4016189" cy="330804"/>
          </a:xfrm>
        </p:grpSpPr>
        <p:sp>
          <p:nvSpPr>
            <p:cNvPr id="11" name="TextBox 11"/>
            <p:cNvSpPr txBox="1"/>
            <p:nvPr userDrawn="1"/>
          </p:nvSpPr>
          <p:spPr>
            <a:xfrm>
              <a:off x="231819" y="6457866"/>
              <a:ext cx="147975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pt-BR" sz="1100" b="1" kern="1200" dirty="0" err="1">
                  <a:solidFill>
                    <a:schemeClr val="bg1"/>
                  </a:solidFill>
                  <a:latin typeface="+mj-lt"/>
                  <a:ea typeface="+mn-ea"/>
                  <a:cs typeface="+mn-cs"/>
                </a:rPr>
                <a:t>PDNG</a:t>
              </a:r>
              <a:r>
                <a:rPr lang="pt-BR" sz="1100" b="1" kern="1200" dirty="0">
                  <a:solidFill>
                    <a:schemeClr val="bg1"/>
                  </a:solidFill>
                  <a:latin typeface="+mj-lt"/>
                  <a:ea typeface="+mn-ea"/>
                  <a:cs typeface="+mn-cs"/>
                </a:rPr>
                <a:t> 2019-2023</a:t>
              </a:r>
              <a:endParaRPr lang="en-US" sz="1100" dirty="0">
                <a:solidFill>
                  <a:schemeClr val="bg1"/>
                </a:solidFill>
                <a:latin typeface="+mj-lt"/>
              </a:endParaRPr>
            </a:p>
          </p:txBody>
        </p:sp>
        <p:cxnSp>
          <p:nvCxnSpPr>
            <p:cNvPr id="12" name="Straight Connector 12"/>
            <p:cNvCxnSpPr/>
            <p:nvPr userDrawn="1"/>
          </p:nvCxnSpPr>
          <p:spPr>
            <a:xfrm>
              <a:off x="0" y="6719476"/>
              <a:ext cx="160986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1"/>
            <p:cNvSpPr txBox="1"/>
            <p:nvPr userDrawn="1"/>
          </p:nvSpPr>
          <p:spPr>
            <a:xfrm>
              <a:off x="1711569" y="6454192"/>
              <a:ext cx="230461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pt-BR" sz="1100" b="0" kern="1200" dirty="0">
                  <a:solidFill>
                    <a:schemeClr val="bg1"/>
                  </a:solidFill>
                  <a:latin typeface="+mj-lt"/>
                  <a:ea typeface="+mn-ea"/>
                  <a:cs typeface="+mn-cs"/>
                </a:rPr>
                <a:t>Plano Diretor de Negócios e Gestão</a:t>
              </a:r>
              <a:endParaRPr lang="en-US" sz="1100" b="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Slide Number Placeholder 5"/>
            <p:cNvSpPr txBox="1">
              <a:spLocks/>
            </p:cNvSpPr>
            <p:nvPr userDrawn="1"/>
          </p:nvSpPr>
          <p:spPr>
            <a:xfrm>
              <a:off x="73343" y="6418262"/>
              <a:ext cx="426398" cy="301214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en-US"/>
              </a:defPPr>
              <a:lvl1pPr marL="0" algn="r" defTabSz="914400" rtl="0" eaLnBrk="1" latinLnBrk="0" hangingPunct="1">
                <a:defRPr sz="2400" kern="1200">
                  <a:solidFill>
                    <a:schemeClr val="tx1"/>
                  </a:solidFill>
                  <a:latin typeface="Raleway" panose="020B0503030101060003" pitchFamily="34" charset="0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fld id="{CCA817B1-E75C-4DB8-9B0A-1A0AC25A777C}" type="slidenum">
                <a:rPr lang="en-GB" sz="800" smtClean="0">
                  <a:solidFill>
                    <a:schemeClr val="bg1"/>
                  </a:solidFill>
                  <a:latin typeface="+mj-lt"/>
                </a:rPr>
                <a:pPr algn="ctr"/>
                <a:t>‹nº›</a:t>
              </a:fld>
              <a:endParaRPr lang="en-GB" sz="8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Rectangle 9"/>
            <p:cNvSpPr/>
            <p:nvPr userDrawn="1"/>
          </p:nvSpPr>
          <p:spPr>
            <a:xfrm rot="2700000">
              <a:off x="92006" y="6535483"/>
              <a:ext cx="90117" cy="90117"/>
            </a:xfrm>
            <a:custGeom>
              <a:avLst/>
              <a:gdLst>
                <a:gd name="connsiteX0" fmla="*/ 0 w 531091"/>
                <a:gd name="connsiteY0" fmla="*/ 0 h 531091"/>
                <a:gd name="connsiteX1" fmla="*/ 531091 w 531091"/>
                <a:gd name="connsiteY1" fmla="*/ 0 h 531091"/>
                <a:gd name="connsiteX2" fmla="*/ 531091 w 531091"/>
                <a:gd name="connsiteY2" fmla="*/ 531091 h 531091"/>
                <a:gd name="connsiteX3" fmla="*/ 0 w 531091"/>
                <a:gd name="connsiteY3" fmla="*/ 531091 h 531091"/>
                <a:gd name="connsiteX4" fmla="*/ 0 w 531091"/>
                <a:gd name="connsiteY4" fmla="*/ 0 h 531091"/>
                <a:gd name="connsiteX0" fmla="*/ 0 w 531091"/>
                <a:gd name="connsiteY0" fmla="*/ 0 h 531091"/>
                <a:gd name="connsiteX1" fmla="*/ 531091 w 531091"/>
                <a:gd name="connsiteY1" fmla="*/ 531091 h 531091"/>
                <a:gd name="connsiteX2" fmla="*/ 0 w 531091"/>
                <a:gd name="connsiteY2" fmla="*/ 531091 h 531091"/>
                <a:gd name="connsiteX3" fmla="*/ 0 w 531091"/>
                <a:gd name="connsiteY3" fmla="*/ 0 h 531091"/>
                <a:gd name="connsiteX0" fmla="*/ 0 w 531091"/>
                <a:gd name="connsiteY0" fmla="*/ 0 h 531091"/>
                <a:gd name="connsiteX1" fmla="*/ 230909 w 531091"/>
                <a:gd name="connsiteY1" fmla="*/ 224312 h 531091"/>
                <a:gd name="connsiteX2" fmla="*/ 531091 w 531091"/>
                <a:gd name="connsiteY2" fmla="*/ 531091 h 531091"/>
                <a:gd name="connsiteX3" fmla="*/ 0 w 531091"/>
                <a:gd name="connsiteY3" fmla="*/ 531091 h 531091"/>
                <a:gd name="connsiteX4" fmla="*/ 0 w 531091"/>
                <a:gd name="connsiteY4" fmla="*/ 0 h 531091"/>
                <a:gd name="connsiteX0" fmla="*/ 230909 w 531091"/>
                <a:gd name="connsiteY0" fmla="*/ 224312 h 531091"/>
                <a:gd name="connsiteX1" fmla="*/ 531091 w 531091"/>
                <a:gd name="connsiteY1" fmla="*/ 531091 h 531091"/>
                <a:gd name="connsiteX2" fmla="*/ 0 w 531091"/>
                <a:gd name="connsiteY2" fmla="*/ 531091 h 531091"/>
                <a:gd name="connsiteX3" fmla="*/ 0 w 531091"/>
                <a:gd name="connsiteY3" fmla="*/ 0 h 531091"/>
                <a:gd name="connsiteX4" fmla="*/ 322349 w 531091"/>
                <a:gd name="connsiteY4" fmla="*/ 315752 h 531091"/>
                <a:gd name="connsiteX0" fmla="*/ 343065 w 531091"/>
                <a:gd name="connsiteY0" fmla="*/ 89066 h 531091"/>
                <a:gd name="connsiteX1" fmla="*/ 531091 w 531091"/>
                <a:gd name="connsiteY1" fmla="*/ 531091 h 531091"/>
                <a:gd name="connsiteX2" fmla="*/ 0 w 531091"/>
                <a:gd name="connsiteY2" fmla="*/ 531091 h 531091"/>
                <a:gd name="connsiteX3" fmla="*/ 0 w 531091"/>
                <a:gd name="connsiteY3" fmla="*/ 0 h 531091"/>
                <a:gd name="connsiteX4" fmla="*/ 322349 w 531091"/>
                <a:gd name="connsiteY4" fmla="*/ 315752 h 531091"/>
                <a:gd name="connsiteX0" fmla="*/ 531091 w 531091"/>
                <a:gd name="connsiteY0" fmla="*/ 531091 h 531091"/>
                <a:gd name="connsiteX1" fmla="*/ 0 w 531091"/>
                <a:gd name="connsiteY1" fmla="*/ 531091 h 531091"/>
                <a:gd name="connsiteX2" fmla="*/ 0 w 531091"/>
                <a:gd name="connsiteY2" fmla="*/ 0 h 531091"/>
                <a:gd name="connsiteX3" fmla="*/ 322349 w 531091"/>
                <a:gd name="connsiteY3" fmla="*/ 315752 h 531091"/>
                <a:gd name="connsiteX0" fmla="*/ 531091 w 531091"/>
                <a:gd name="connsiteY0" fmla="*/ 531091 h 531091"/>
                <a:gd name="connsiteX1" fmla="*/ 0 w 531091"/>
                <a:gd name="connsiteY1" fmla="*/ 531091 h 531091"/>
                <a:gd name="connsiteX2" fmla="*/ 0 w 531091"/>
                <a:gd name="connsiteY2" fmla="*/ 0 h 531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1091" h="531091">
                  <a:moveTo>
                    <a:pt x="531091" y="531091"/>
                  </a:moveTo>
                  <a:lnTo>
                    <a:pt x="0" y="531091"/>
                  </a:lnTo>
                  <a:lnTo>
                    <a:pt x="0" y="0"/>
                  </a:lnTo>
                </a:path>
              </a:pathLst>
            </a:custGeom>
            <a:noFill/>
            <a:ln w="6350" cmpd="sng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6" name="Rectangle 9"/>
            <p:cNvSpPr/>
            <p:nvPr userDrawn="1"/>
          </p:nvSpPr>
          <p:spPr>
            <a:xfrm rot="13500000">
              <a:off x="390959" y="6543356"/>
              <a:ext cx="90117" cy="90117"/>
            </a:xfrm>
            <a:custGeom>
              <a:avLst/>
              <a:gdLst>
                <a:gd name="connsiteX0" fmla="*/ 0 w 531091"/>
                <a:gd name="connsiteY0" fmla="*/ 0 h 531091"/>
                <a:gd name="connsiteX1" fmla="*/ 531091 w 531091"/>
                <a:gd name="connsiteY1" fmla="*/ 0 h 531091"/>
                <a:gd name="connsiteX2" fmla="*/ 531091 w 531091"/>
                <a:gd name="connsiteY2" fmla="*/ 531091 h 531091"/>
                <a:gd name="connsiteX3" fmla="*/ 0 w 531091"/>
                <a:gd name="connsiteY3" fmla="*/ 531091 h 531091"/>
                <a:gd name="connsiteX4" fmla="*/ 0 w 531091"/>
                <a:gd name="connsiteY4" fmla="*/ 0 h 531091"/>
                <a:gd name="connsiteX0" fmla="*/ 0 w 531091"/>
                <a:gd name="connsiteY0" fmla="*/ 0 h 531091"/>
                <a:gd name="connsiteX1" fmla="*/ 531091 w 531091"/>
                <a:gd name="connsiteY1" fmla="*/ 531091 h 531091"/>
                <a:gd name="connsiteX2" fmla="*/ 0 w 531091"/>
                <a:gd name="connsiteY2" fmla="*/ 531091 h 531091"/>
                <a:gd name="connsiteX3" fmla="*/ 0 w 531091"/>
                <a:gd name="connsiteY3" fmla="*/ 0 h 531091"/>
                <a:gd name="connsiteX0" fmla="*/ 0 w 531091"/>
                <a:gd name="connsiteY0" fmla="*/ 0 h 531091"/>
                <a:gd name="connsiteX1" fmla="*/ 230909 w 531091"/>
                <a:gd name="connsiteY1" fmla="*/ 224312 h 531091"/>
                <a:gd name="connsiteX2" fmla="*/ 531091 w 531091"/>
                <a:gd name="connsiteY2" fmla="*/ 531091 h 531091"/>
                <a:gd name="connsiteX3" fmla="*/ 0 w 531091"/>
                <a:gd name="connsiteY3" fmla="*/ 531091 h 531091"/>
                <a:gd name="connsiteX4" fmla="*/ 0 w 531091"/>
                <a:gd name="connsiteY4" fmla="*/ 0 h 531091"/>
                <a:gd name="connsiteX0" fmla="*/ 230909 w 531091"/>
                <a:gd name="connsiteY0" fmla="*/ 224312 h 531091"/>
                <a:gd name="connsiteX1" fmla="*/ 531091 w 531091"/>
                <a:gd name="connsiteY1" fmla="*/ 531091 h 531091"/>
                <a:gd name="connsiteX2" fmla="*/ 0 w 531091"/>
                <a:gd name="connsiteY2" fmla="*/ 531091 h 531091"/>
                <a:gd name="connsiteX3" fmla="*/ 0 w 531091"/>
                <a:gd name="connsiteY3" fmla="*/ 0 h 531091"/>
                <a:gd name="connsiteX4" fmla="*/ 322349 w 531091"/>
                <a:gd name="connsiteY4" fmla="*/ 315752 h 531091"/>
                <a:gd name="connsiteX0" fmla="*/ 343065 w 531091"/>
                <a:gd name="connsiteY0" fmla="*/ 89066 h 531091"/>
                <a:gd name="connsiteX1" fmla="*/ 531091 w 531091"/>
                <a:gd name="connsiteY1" fmla="*/ 531091 h 531091"/>
                <a:gd name="connsiteX2" fmla="*/ 0 w 531091"/>
                <a:gd name="connsiteY2" fmla="*/ 531091 h 531091"/>
                <a:gd name="connsiteX3" fmla="*/ 0 w 531091"/>
                <a:gd name="connsiteY3" fmla="*/ 0 h 531091"/>
                <a:gd name="connsiteX4" fmla="*/ 322349 w 531091"/>
                <a:gd name="connsiteY4" fmla="*/ 315752 h 531091"/>
                <a:gd name="connsiteX0" fmla="*/ 531091 w 531091"/>
                <a:gd name="connsiteY0" fmla="*/ 531091 h 531091"/>
                <a:gd name="connsiteX1" fmla="*/ 0 w 531091"/>
                <a:gd name="connsiteY1" fmla="*/ 531091 h 531091"/>
                <a:gd name="connsiteX2" fmla="*/ 0 w 531091"/>
                <a:gd name="connsiteY2" fmla="*/ 0 h 531091"/>
                <a:gd name="connsiteX3" fmla="*/ 322349 w 531091"/>
                <a:gd name="connsiteY3" fmla="*/ 315752 h 531091"/>
                <a:gd name="connsiteX0" fmla="*/ 531091 w 531091"/>
                <a:gd name="connsiteY0" fmla="*/ 531091 h 531091"/>
                <a:gd name="connsiteX1" fmla="*/ 0 w 531091"/>
                <a:gd name="connsiteY1" fmla="*/ 531091 h 531091"/>
                <a:gd name="connsiteX2" fmla="*/ 0 w 531091"/>
                <a:gd name="connsiteY2" fmla="*/ 0 h 531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1091" h="531091">
                  <a:moveTo>
                    <a:pt x="531091" y="531091"/>
                  </a:moveTo>
                  <a:lnTo>
                    <a:pt x="0" y="531091"/>
                  </a:lnTo>
                  <a:lnTo>
                    <a:pt x="0" y="0"/>
                  </a:lnTo>
                </a:path>
              </a:pathLst>
            </a:custGeom>
            <a:noFill/>
            <a:ln w="6350" cmpd="sng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7" name="Action Button: Forward or Next 26">
              <a:hlinkClick r:id="" action="ppaction://hlinkshowjump?jump=nextslide" highlightClick="1"/>
            </p:cNvPr>
            <p:cNvSpPr/>
            <p:nvPr userDrawn="1"/>
          </p:nvSpPr>
          <p:spPr>
            <a:xfrm>
              <a:off x="396810" y="6446666"/>
              <a:ext cx="176275" cy="302400"/>
            </a:xfrm>
            <a:prstGeom prst="actionButtonForwardNext">
              <a:avLst/>
            </a:prstGeom>
            <a:solidFill>
              <a:srgbClr val="00CAC5">
                <a:alpha val="0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8" name="Action Button: Back or Previous 27">
              <a:hlinkClick r:id="" action="ppaction://hlinkshowjump?jump=previousslide" highlightClick="1"/>
            </p:cNvPr>
            <p:cNvSpPr/>
            <p:nvPr userDrawn="1"/>
          </p:nvSpPr>
          <p:spPr>
            <a:xfrm>
              <a:off x="-1" y="6446666"/>
              <a:ext cx="176400" cy="302400"/>
            </a:xfrm>
            <a:prstGeom prst="actionButtonBackPrevious">
              <a:avLst/>
            </a:prstGeom>
            <a:solidFill>
              <a:srgbClr val="00CAC5">
                <a:alpha val="0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bg1"/>
                </a:solidFill>
              </a:endParaRPr>
            </a:p>
          </p:txBody>
        </p:sp>
      </p:grpSp>
      <p:pic>
        <p:nvPicPr>
          <p:cNvPr id="19" name="Imagem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2463" y="6335388"/>
            <a:ext cx="1332148" cy="370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8480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1524" y="1310"/>
            <a:ext cx="4088313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34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pt-BR" dirty="0">
                <a:solidFill>
                  <a:schemeClr val="tx2"/>
                </a:solidFill>
              </a:rPr>
              <a:t>Click </a:t>
            </a:r>
            <a:r>
              <a:rPr lang="pt-BR" dirty="0" err="1">
                <a:solidFill>
                  <a:schemeClr val="tx2"/>
                </a:solidFill>
              </a:rPr>
              <a:t>to</a:t>
            </a:r>
            <a:r>
              <a:rPr lang="pt-BR" dirty="0">
                <a:solidFill>
                  <a:schemeClr val="tx2"/>
                </a:solidFill>
              </a:rPr>
              <a:t> </a:t>
            </a:r>
            <a:r>
              <a:rPr lang="pt-BR" dirty="0" err="1">
                <a:solidFill>
                  <a:schemeClr val="tx2"/>
                </a:solidFill>
              </a:rPr>
              <a:t>add</a:t>
            </a:r>
            <a:r>
              <a:rPr lang="pt-BR" dirty="0">
                <a:solidFill>
                  <a:schemeClr val="tx2"/>
                </a:solidFill>
              </a:rPr>
              <a:t> </a:t>
            </a:r>
            <a:r>
              <a:rPr lang="pt-BR" dirty="0" err="1">
                <a:solidFill>
                  <a:schemeClr val="tx2"/>
                </a:solidFill>
              </a:rPr>
              <a:t>title</a:t>
            </a:r>
            <a:endParaRPr lang="pt-BR" dirty="0">
              <a:solidFill>
                <a:schemeClr val="tx2"/>
              </a:solidFill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/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3" y="359042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6229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3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34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59"/>
            <a:ext cx="269466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1968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7132293"/>
              </p:ext>
            </p:extLst>
          </p:nvPr>
        </p:nvGraphicFramePr>
        <p:xfrm>
          <a:off x="1618" y="161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8" y="161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1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31" y="178563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/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423"/>
            <a:ext cx="1298574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942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1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31" y="178563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8" y="3416300"/>
            <a:ext cx="269466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405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1" y="0"/>
            <a:ext cx="6363547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/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7" y="3589607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4924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1" y="0"/>
            <a:ext cx="636354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201" y="3407833"/>
            <a:ext cx="269466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523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1" y="0"/>
            <a:ext cx="8446238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/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0" y="3589607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2104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1" y="0"/>
            <a:ext cx="8446238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33"/>
            <a:ext cx="269466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3904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31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big </a:t>
            </a:r>
            <a:r>
              <a:rPr lang="pt-BR" dirty="0" err="1"/>
              <a:t>statement</a:t>
            </a:r>
            <a:r>
              <a:rPr lang="pt-BR" dirty="0"/>
              <a:t> </a:t>
            </a:r>
            <a:r>
              <a:rPr lang="pt-BR" dirty="0" err="1"/>
              <a:t>text</a:t>
            </a:r>
            <a:endParaRPr lang="pt-BR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/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5743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31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31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big </a:t>
            </a:r>
            <a:r>
              <a:rPr lang="pt-BR" dirty="0" err="1"/>
              <a:t>statement</a:t>
            </a:r>
            <a:r>
              <a:rPr lang="pt-BR" dirty="0"/>
              <a:t> </a:t>
            </a:r>
            <a:r>
              <a:rPr lang="pt-BR" dirty="0" err="1"/>
              <a:t>text</a:t>
            </a:r>
            <a:endParaRPr lang="pt-BR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2561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bertura c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35C1A9D1-CE62-4559-BC1C-FFF6756F4F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Rectangle 5"/>
          <p:cNvSpPr/>
          <p:nvPr userDrawn="1"/>
        </p:nvSpPr>
        <p:spPr>
          <a:xfrm>
            <a:off x="30" y="-4147"/>
            <a:ext cx="12192000" cy="6862177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80000"/>
                </a:schemeClr>
              </a:gs>
              <a:gs pos="100000">
                <a:schemeClr val="accent2">
                  <a:alpha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/>
          </a:p>
        </p:txBody>
      </p:sp>
      <p:grpSp>
        <p:nvGrpSpPr>
          <p:cNvPr id="2" name="Grupo 1"/>
          <p:cNvGrpSpPr/>
          <p:nvPr userDrawn="1"/>
        </p:nvGrpSpPr>
        <p:grpSpPr>
          <a:xfrm>
            <a:off x="30" y="6418292"/>
            <a:ext cx="4016188" cy="330804"/>
            <a:chOff x="-1" y="6418262"/>
            <a:chExt cx="4016189" cy="330804"/>
          </a:xfrm>
        </p:grpSpPr>
        <p:sp>
          <p:nvSpPr>
            <p:cNvPr id="11" name="TextBox 11"/>
            <p:cNvSpPr txBox="1"/>
            <p:nvPr userDrawn="1"/>
          </p:nvSpPr>
          <p:spPr>
            <a:xfrm>
              <a:off x="231819" y="6457866"/>
              <a:ext cx="147975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pt-BR" sz="1100" b="1" kern="1200" dirty="0" err="1">
                  <a:solidFill>
                    <a:schemeClr val="bg1"/>
                  </a:solidFill>
                  <a:latin typeface="+mj-lt"/>
                  <a:ea typeface="+mn-ea"/>
                  <a:cs typeface="+mn-cs"/>
                </a:rPr>
                <a:t>PDNG</a:t>
              </a:r>
              <a:r>
                <a:rPr lang="pt-BR" sz="1100" b="1" kern="1200" dirty="0">
                  <a:solidFill>
                    <a:schemeClr val="bg1"/>
                  </a:solidFill>
                  <a:latin typeface="+mj-lt"/>
                  <a:ea typeface="+mn-ea"/>
                  <a:cs typeface="+mn-cs"/>
                </a:rPr>
                <a:t> 2019-2023</a:t>
              </a:r>
              <a:endParaRPr lang="en-US" sz="1100" dirty="0">
                <a:solidFill>
                  <a:schemeClr val="bg1"/>
                </a:solidFill>
                <a:latin typeface="+mj-lt"/>
              </a:endParaRPr>
            </a:p>
          </p:txBody>
        </p:sp>
        <p:cxnSp>
          <p:nvCxnSpPr>
            <p:cNvPr id="12" name="Straight Connector 12"/>
            <p:cNvCxnSpPr/>
            <p:nvPr userDrawn="1"/>
          </p:nvCxnSpPr>
          <p:spPr>
            <a:xfrm>
              <a:off x="0" y="6719476"/>
              <a:ext cx="160986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1"/>
            <p:cNvSpPr txBox="1"/>
            <p:nvPr userDrawn="1"/>
          </p:nvSpPr>
          <p:spPr>
            <a:xfrm>
              <a:off x="1711569" y="6454192"/>
              <a:ext cx="230461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pt-BR" sz="1100" b="0" kern="1200" dirty="0">
                  <a:solidFill>
                    <a:schemeClr val="bg1"/>
                  </a:solidFill>
                  <a:latin typeface="+mj-lt"/>
                  <a:ea typeface="+mn-ea"/>
                  <a:cs typeface="+mn-cs"/>
                </a:rPr>
                <a:t>Plano Diretor de Negócios e Gestão</a:t>
              </a:r>
              <a:endParaRPr lang="en-US" sz="1100" b="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Slide Number Placeholder 5"/>
            <p:cNvSpPr txBox="1">
              <a:spLocks/>
            </p:cNvSpPr>
            <p:nvPr userDrawn="1"/>
          </p:nvSpPr>
          <p:spPr>
            <a:xfrm>
              <a:off x="73343" y="6418262"/>
              <a:ext cx="426398" cy="301214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en-US"/>
              </a:defPPr>
              <a:lvl1pPr marL="0" algn="r" defTabSz="914400" rtl="0" eaLnBrk="1" latinLnBrk="0" hangingPunct="1">
                <a:defRPr sz="2400" kern="1200">
                  <a:solidFill>
                    <a:schemeClr val="tx1"/>
                  </a:solidFill>
                  <a:latin typeface="Raleway" panose="020B0503030101060003" pitchFamily="34" charset="0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fld id="{CCA817B1-E75C-4DB8-9B0A-1A0AC25A777C}" type="slidenum">
                <a:rPr lang="en-GB" sz="800" smtClean="0">
                  <a:solidFill>
                    <a:schemeClr val="bg1"/>
                  </a:solidFill>
                  <a:latin typeface="+mj-lt"/>
                </a:rPr>
                <a:pPr algn="ctr"/>
                <a:t>‹nº›</a:t>
              </a:fld>
              <a:endParaRPr lang="en-GB" sz="8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Rectangle 9"/>
            <p:cNvSpPr/>
            <p:nvPr userDrawn="1"/>
          </p:nvSpPr>
          <p:spPr>
            <a:xfrm rot="2700000">
              <a:off x="92006" y="6535483"/>
              <a:ext cx="90117" cy="90117"/>
            </a:xfrm>
            <a:custGeom>
              <a:avLst/>
              <a:gdLst>
                <a:gd name="connsiteX0" fmla="*/ 0 w 531091"/>
                <a:gd name="connsiteY0" fmla="*/ 0 h 531091"/>
                <a:gd name="connsiteX1" fmla="*/ 531091 w 531091"/>
                <a:gd name="connsiteY1" fmla="*/ 0 h 531091"/>
                <a:gd name="connsiteX2" fmla="*/ 531091 w 531091"/>
                <a:gd name="connsiteY2" fmla="*/ 531091 h 531091"/>
                <a:gd name="connsiteX3" fmla="*/ 0 w 531091"/>
                <a:gd name="connsiteY3" fmla="*/ 531091 h 531091"/>
                <a:gd name="connsiteX4" fmla="*/ 0 w 531091"/>
                <a:gd name="connsiteY4" fmla="*/ 0 h 531091"/>
                <a:gd name="connsiteX0" fmla="*/ 0 w 531091"/>
                <a:gd name="connsiteY0" fmla="*/ 0 h 531091"/>
                <a:gd name="connsiteX1" fmla="*/ 531091 w 531091"/>
                <a:gd name="connsiteY1" fmla="*/ 531091 h 531091"/>
                <a:gd name="connsiteX2" fmla="*/ 0 w 531091"/>
                <a:gd name="connsiteY2" fmla="*/ 531091 h 531091"/>
                <a:gd name="connsiteX3" fmla="*/ 0 w 531091"/>
                <a:gd name="connsiteY3" fmla="*/ 0 h 531091"/>
                <a:gd name="connsiteX0" fmla="*/ 0 w 531091"/>
                <a:gd name="connsiteY0" fmla="*/ 0 h 531091"/>
                <a:gd name="connsiteX1" fmla="*/ 230909 w 531091"/>
                <a:gd name="connsiteY1" fmla="*/ 224312 h 531091"/>
                <a:gd name="connsiteX2" fmla="*/ 531091 w 531091"/>
                <a:gd name="connsiteY2" fmla="*/ 531091 h 531091"/>
                <a:gd name="connsiteX3" fmla="*/ 0 w 531091"/>
                <a:gd name="connsiteY3" fmla="*/ 531091 h 531091"/>
                <a:gd name="connsiteX4" fmla="*/ 0 w 531091"/>
                <a:gd name="connsiteY4" fmla="*/ 0 h 531091"/>
                <a:gd name="connsiteX0" fmla="*/ 230909 w 531091"/>
                <a:gd name="connsiteY0" fmla="*/ 224312 h 531091"/>
                <a:gd name="connsiteX1" fmla="*/ 531091 w 531091"/>
                <a:gd name="connsiteY1" fmla="*/ 531091 h 531091"/>
                <a:gd name="connsiteX2" fmla="*/ 0 w 531091"/>
                <a:gd name="connsiteY2" fmla="*/ 531091 h 531091"/>
                <a:gd name="connsiteX3" fmla="*/ 0 w 531091"/>
                <a:gd name="connsiteY3" fmla="*/ 0 h 531091"/>
                <a:gd name="connsiteX4" fmla="*/ 322349 w 531091"/>
                <a:gd name="connsiteY4" fmla="*/ 315752 h 531091"/>
                <a:gd name="connsiteX0" fmla="*/ 343065 w 531091"/>
                <a:gd name="connsiteY0" fmla="*/ 89066 h 531091"/>
                <a:gd name="connsiteX1" fmla="*/ 531091 w 531091"/>
                <a:gd name="connsiteY1" fmla="*/ 531091 h 531091"/>
                <a:gd name="connsiteX2" fmla="*/ 0 w 531091"/>
                <a:gd name="connsiteY2" fmla="*/ 531091 h 531091"/>
                <a:gd name="connsiteX3" fmla="*/ 0 w 531091"/>
                <a:gd name="connsiteY3" fmla="*/ 0 h 531091"/>
                <a:gd name="connsiteX4" fmla="*/ 322349 w 531091"/>
                <a:gd name="connsiteY4" fmla="*/ 315752 h 531091"/>
                <a:gd name="connsiteX0" fmla="*/ 531091 w 531091"/>
                <a:gd name="connsiteY0" fmla="*/ 531091 h 531091"/>
                <a:gd name="connsiteX1" fmla="*/ 0 w 531091"/>
                <a:gd name="connsiteY1" fmla="*/ 531091 h 531091"/>
                <a:gd name="connsiteX2" fmla="*/ 0 w 531091"/>
                <a:gd name="connsiteY2" fmla="*/ 0 h 531091"/>
                <a:gd name="connsiteX3" fmla="*/ 322349 w 531091"/>
                <a:gd name="connsiteY3" fmla="*/ 315752 h 531091"/>
                <a:gd name="connsiteX0" fmla="*/ 531091 w 531091"/>
                <a:gd name="connsiteY0" fmla="*/ 531091 h 531091"/>
                <a:gd name="connsiteX1" fmla="*/ 0 w 531091"/>
                <a:gd name="connsiteY1" fmla="*/ 531091 h 531091"/>
                <a:gd name="connsiteX2" fmla="*/ 0 w 531091"/>
                <a:gd name="connsiteY2" fmla="*/ 0 h 531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1091" h="531091">
                  <a:moveTo>
                    <a:pt x="531091" y="531091"/>
                  </a:moveTo>
                  <a:lnTo>
                    <a:pt x="0" y="531091"/>
                  </a:lnTo>
                  <a:lnTo>
                    <a:pt x="0" y="0"/>
                  </a:lnTo>
                </a:path>
              </a:pathLst>
            </a:custGeom>
            <a:noFill/>
            <a:ln w="6350" cmpd="sng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6" name="Rectangle 9"/>
            <p:cNvSpPr/>
            <p:nvPr userDrawn="1"/>
          </p:nvSpPr>
          <p:spPr>
            <a:xfrm rot="13500000">
              <a:off x="390959" y="6543356"/>
              <a:ext cx="90117" cy="90117"/>
            </a:xfrm>
            <a:custGeom>
              <a:avLst/>
              <a:gdLst>
                <a:gd name="connsiteX0" fmla="*/ 0 w 531091"/>
                <a:gd name="connsiteY0" fmla="*/ 0 h 531091"/>
                <a:gd name="connsiteX1" fmla="*/ 531091 w 531091"/>
                <a:gd name="connsiteY1" fmla="*/ 0 h 531091"/>
                <a:gd name="connsiteX2" fmla="*/ 531091 w 531091"/>
                <a:gd name="connsiteY2" fmla="*/ 531091 h 531091"/>
                <a:gd name="connsiteX3" fmla="*/ 0 w 531091"/>
                <a:gd name="connsiteY3" fmla="*/ 531091 h 531091"/>
                <a:gd name="connsiteX4" fmla="*/ 0 w 531091"/>
                <a:gd name="connsiteY4" fmla="*/ 0 h 531091"/>
                <a:gd name="connsiteX0" fmla="*/ 0 w 531091"/>
                <a:gd name="connsiteY0" fmla="*/ 0 h 531091"/>
                <a:gd name="connsiteX1" fmla="*/ 531091 w 531091"/>
                <a:gd name="connsiteY1" fmla="*/ 531091 h 531091"/>
                <a:gd name="connsiteX2" fmla="*/ 0 w 531091"/>
                <a:gd name="connsiteY2" fmla="*/ 531091 h 531091"/>
                <a:gd name="connsiteX3" fmla="*/ 0 w 531091"/>
                <a:gd name="connsiteY3" fmla="*/ 0 h 531091"/>
                <a:gd name="connsiteX0" fmla="*/ 0 w 531091"/>
                <a:gd name="connsiteY0" fmla="*/ 0 h 531091"/>
                <a:gd name="connsiteX1" fmla="*/ 230909 w 531091"/>
                <a:gd name="connsiteY1" fmla="*/ 224312 h 531091"/>
                <a:gd name="connsiteX2" fmla="*/ 531091 w 531091"/>
                <a:gd name="connsiteY2" fmla="*/ 531091 h 531091"/>
                <a:gd name="connsiteX3" fmla="*/ 0 w 531091"/>
                <a:gd name="connsiteY3" fmla="*/ 531091 h 531091"/>
                <a:gd name="connsiteX4" fmla="*/ 0 w 531091"/>
                <a:gd name="connsiteY4" fmla="*/ 0 h 531091"/>
                <a:gd name="connsiteX0" fmla="*/ 230909 w 531091"/>
                <a:gd name="connsiteY0" fmla="*/ 224312 h 531091"/>
                <a:gd name="connsiteX1" fmla="*/ 531091 w 531091"/>
                <a:gd name="connsiteY1" fmla="*/ 531091 h 531091"/>
                <a:gd name="connsiteX2" fmla="*/ 0 w 531091"/>
                <a:gd name="connsiteY2" fmla="*/ 531091 h 531091"/>
                <a:gd name="connsiteX3" fmla="*/ 0 w 531091"/>
                <a:gd name="connsiteY3" fmla="*/ 0 h 531091"/>
                <a:gd name="connsiteX4" fmla="*/ 322349 w 531091"/>
                <a:gd name="connsiteY4" fmla="*/ 315752 h 531091"/>
                <a:gd name="connsiteX0" fmla="*/ 343065 w 531091"/>
                <a:gd name="connsiteY0" fmla="*/ 89066 h 531091"/>
                <a:gd name="connsiteX1" fmla="*/ 531091 w 531091"/>
                <a:gd name="connsiteY1" fmla="*/ 531091 h 531091"/>
                <a:gd name="connsiteX2" fmla="*/ 0 w 531091"/>
                <a:gd name="connsiteY2" fmla="*/ 531091 h 531091"/>
                <a:gd name="connsiteX3" fmla="*/ 0 w 531091"/>
                <a:gd name="connsiteY3" fmla="*/ 0 h 531091"/>
                <a:gd name="connsiteX4" fmla="*/ 322349 w 531091"/>
                <a:gd name="connsiteY4" fmla="*/ 315752 h 531091"/>
                <a:gd name="connsiteX0" fmla="*/ 531091 w 531091"/>
                <a:gd name="connsiteY0" fmla="*/ 531091 h 531091"/>
                <a:gd name="connsiteX1" fmla="*/ 0 w 531091"/>
                <a:gd name="connsiteY1" fmla="*/ 531091 h 531091"/>
                <a:gd name="connsiteX2" fmla="*/ 0 w 531091"/>
                <a:gd name="connsiteY2" fmla="*/ 0 h 531091"/>
                <a:gd name="connsiteX3" fmla="*/ 322349 w 531091"/>
                <a:gd name="connsiteY3" fmla="*/ 315752 h 531091"/>
                <a:gd name="connsiteX0" fmla="*/ 531091 w 531091"/>
                <a:gd name="connsiteY0" fmla="*/ 531091 h 531091"/>
                <a:gd name="connsiteX1" fmla="*/ 0 w 531091"/>
                <a:gd name="connsiteY1" fmla="*/ 531091 h 531091"/>
                <a:gd name="connsiteX2" fmla="*/ 0 w 531091"/>
                <a:gd name="connsiteY2" fmla="*/ 0 h 531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1091" h="531091">
                  <a:moveTo>
                    <a:pt x="531091" y="531091"/>
                  </a:moveTo>
                  <a:lnTo>
                    <a:pt x="0" y="531091"/>
                  </a:lnTo>
                  <a:lnTo>
                    <a:pt x="0" y="0"/>
                  </a:lnTo>
                </a:path>
              </a:pathLst>
            </a:custGeom>
            <a:noFill/>
            <a:ln w="6350" cmpd="sng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7" name="Action Button: Forward or Next 26">
              <a:hlinkClick r:id="" action="ppaction://hlinkshowjump?jump=nextslide" highlightClick="1"/>
            </p:cNvPr>
            <p:cNvSpPr/>
            <p:nvPr userDrawn="1"/>
          </p:nvSpPr>
          <p:spPr>
            <a:xfrm>
              <a:off x="396810" y="6446666"/>
              <a:ext cx="176275" cy="302400"/>
            </a:xfrm>
            <a:prstGeom prst="actionButtonForwardNext">
              <a:avLst/>
            </a:prstGeom>
            <a:solidFill>
              <a:srgbClr val="00CAC5">
                <a:alpha val="0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8" name="Action Button: Back or Previous 27">
              <a:hlinkClick r:id="" action="ppaction://hlinkshowjump?jump=previousslide" highlightClick="1"/>
            </p:cNvPr>
            <p:cNvSpPr/>
            <p:nvPr userDrawn="1"/>
          </p:nvSpPr>
          <p:spPr>
            <a:xfrm>
              <a:off x="-1" y="6446666"/>
              <a:ext cx="176400" cy="302400"/>
            </a:xfrm>
            <a:prstGeom prst="actionButtonBackPrevious">
              <a:avLst/>
            </a:prstGeom>
            <a:solidFill>
              <a:srgbClr val="00CAC5">
                <a:alpha val="0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bg1"/>
                </a:solidFill>
              </a:endParaRPr>
            </a:p>
          </p:txBody>
        </p:sp>
      </p:grpSp>
      <p:pic>
        <p:nvPicPr>
          <p:cNvPr id="19" name="Imagem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2463" y="6335388"/>
            <a:ext cx="1332148" cy="370041"/>
          </a:xfrm>
          <a:prstGeom prst="rect">
            <a:avLst/>
          </a:prstGeom>
        </p:spPr>
      </p:pic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573084" y="359531"/>
            <a:ext cx="11025881" cy="584138"/>
          </a:xfrm>
        </p:spPr>
        <p:txBody>
          <a:bodyPr/>
          <a:lstStyle>
            <a:lvl1pPr algn="ctr"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pt-BR" noProof="0" dirty="0"/>
              <a:t>Click p/editar o título</a:t>
            </a:r>
          </a:p>
        </p:txBody>
      </p:sp>
    </p:spTree>
    <p:extLst>
      <p:ext uri="{BB962C8B-B14F-4D97-AF65-F5344CB8AC3E}">
        <p14:creationId xmlns:p14="http://schemas.microsoft.com/office/powerpoint/2010/main" val="25179806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4157185"/>
              </p:ext>
            </p:extLst>
          </p:nvPr>
        </p:nvGraphicFramePr>
        <p:xfrm>
          <a:off x="1618" y="161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8" y="161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92" y="101474"/>
            <a:ext cx="769257" cy="10019820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30" y="1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pt-BR" dirty="0">
              <a:solidFill>
                <a:srgbClr val="575757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4776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31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/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0941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2800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/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4967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 b="1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5872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3017" y="-4732"/>
            <a:ext cx="12205017" cy="5758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Imagem 10" descr="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750"/>
          <a:stretch>
            <a:fillRect/>
          </a:stretch>
        </p:blipFill>
        <p:spPr bwMode="auto">
          <a:xfrm flipH="1">
            <a:off x="-13017" y="3397250"/>
            <a:ext cx="12205017" cy="3462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Imagem 11" descr="03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375" t="26042"/>
          <a:stretch>
            <a:fillRect/>
          </a:stretch>
        </p:blipFill>
        <p:spPr bwMode="auto">
          <a:xfrm flipH="1" flipV="1">
            <a:off x="-26035" y="-4734"/>
            <a:ext cx="10539504" cy="6862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10"/>
          <p:cNvSpPr/>
          <p:nvPr userDrawn="1"/>
        </p:nvSpPr>
        <p:spPr>
          <a:xfrm>
            <a:off x="6228833" y="548640"/>
            <a:ext cx="5974597" cy="6315710"/>
          </a:xfrm>
          <a:custGeom>
            <a:avLst/>
            <a:gdLst>
              <a:gd name="connsiteX0" fmla="*/ 0 w 5962650"/>
              <a:gd name="connsiteY0" fmla="*/ 0 h 6315710"/>
              <a:gd name="connsiteX1" fmla="*/ 5962650 w 5962650"/>
              <a:gd name="connsiteY1" fmla="*/ 0 h 6315710"/>
              <a:gd name="connsiteX2" fmla="*/ 5962650 w 5962650"/>
              <a:gd name="connsiteY2" fmla="*/ 6315710 h 6315710"/>
              <a:gd name="connsiteX3" fmla="*/ 0 w 5962650"/>
              <a:gd name="connsiteY3" fmla="*/ 6315710 h 6315710"/>
              <a:gd name="connsiteX4" fmla="*/ 0 w 5962650"/>
              <a:gd name="connsiteY4" fmla="*/ 0 h 6315710"/>
              <a:gd name="connsiteX0" fmla="*/ 0 w 5974080"/>
              <a:gd name="connsiteY0" fmla="*/ 4560570 h 6315710"/>
              <a:gd name="connsiteX1" fmla="*/ 5974080 w 5974080"/>
              <a:gd name="connsiteY1" fmla="*/ 0 h 6315710"/>
              <a:gd name="connsiteX2" fmla="*/ 5974080 w 5974080"/>
              <a:gd name="connsiteY2" fmla="*/ 6315710 h 6315710"/>
              <a:gd name="connsiteX3" fmla="*/ 11430 w 5974080"/>
              <a:gd name="connsiteY3" fmla="*/ 6315710 h 6315710"/>
              <a:gd name="connsiteX4" fmla="*/ 0 w 5974080"/>
              <a:gd name="connsiteY4" fmla="*/ 4560570 h 6315710"/>
              <a:gd name="connsiteX0" fmla="*/ 0 w 5974080"/>
              <a:gd name="connsiteY0" fmla="*/ 4560570 h 6315710"/>
              <a:gd name="connsiteX1" fmla="*/ 5974080 w 5974080"/>
              <a:gd name="connsiteY1" fmla="*/ 0 h 6315710"/>
              <a:gd name="connsiteX2" fmla="*/ 5974080 w 5974080"/>
              <a:gd name="connsiteY2" fmla="*/ 6315710 h 6315710"/>
              <a:gd name="connsiteX3" fmla="*/ 1131570 w 5974080"/>
              <a:gd name="connsiteY3" fmla="*/ 6315710 h 6315710"/>
              <a:gd name="connsiteX4" fmla="*/ 0 w 5974080"/>
              <a:gd name="connsiteY4" fmla="*/ 4560570 h 6315710"/>
              <a:gd name="connsiteX0" fmla="*/ 0 w 5974080"/>
              <a:gd name="connsiteY0" fmla="*/ 4560570 h 6315710"/>
              <a:gd name="connsiteX1" fmla="*/ 5974080 w 5974080"/>
              <a:gd name="connsiteY1" fmla="*/ 0 h 6315710"/>
              <a:gd name="connsiteX2" fmla="*/ 5974080 w 5974080"/>
              <a:gd name="connsiteY2" fmla="*/ 6315710 h 6315710"/>
              <a:gd name="connsiteX3" fmla="*/ 1131570 w 5974080"/>
              <a:gd name="connsiteY3" fmla="*/ 6315710 h 6315710"/>
              <a:gd name="connsiteX4" fmla="*/ 0 w 5974080"/>
              <a:gd name="connsiteY4" fmla="*/ 4560570 h 6315710"/>
              <a:gd name="connsiteX0" fmla="*/ 518 w 5974598"/>
              <a:gd name="connsiteY0" fmla="*/ 4560570 h 6315710"/>
              <a:gd name="connsiteX1" fmla="*/ 5974598 w 5974598"/>
              <a:gd name="connsiteY1" fmla="*/ 0 h 6315710"/>
              <a:gd name="connsiteX2" fmla="*/ 5974598 w 5974598"/>
              <a:gd name="connsiteY2" fmla="*/ 6315710 h 6315710"/>
              <a:gd name="connsiteX3" fmla="*/ 1132088 w 5974598"/>
              <a:gd name="connsiteY3" fmla="*/ 6315710 h 6315710"/>
              <a:gd name="connsiteX4" fmla="*/ 518 w 5974598"/>
              <a:gd name="connsiteY4" fmla="*/ 4560570 h 6315710"/>
              <a:gd name="connsiteX0" fmla="*/ 518 w 5974598"/>
              <a:gd name="connsiteY0" fmla="*/ 4560570 h 6315710"/>
              <a:gd name="connsiteX1" fmla="*/ 5974598 w 5974598"/>
              <a:gd name="connsiteY1" fmla="*/ 0 h 6315710"/>
              <a:gd name="connsiteX2" fmla="*/ 5974598 w 5974598"/>
              <a:gd name="connsiteY2" fmla="*/ 6315710 h 6315710"/>
              <a:gd name="connsiteX3" fmla="*/ 1132088 w 5974598"/>
              <a:gd name="connsiteY3" fmla="*/ 6315710 h 6315710"/>
              <a:gd name="connsiteX4" fmla="*/ 518 w 5974598"/>
              <a:gd name="connsiteY4" fmla="*/ 4560570 h 6315710"/>
              <a:gd name="connsiteX0" fmla="*/ 518 w 5974598"/>
              <a:gd name="connsiteY0" fmla="*/ 4560570 h 6315710"/>
              <a:gd name="connsiteX1" fmla="*/ 5974598 w 5974598"/>
              <a:gd name="connsiteY1" fmla="*/ 0 h 6315710"/>
              <a:gd name="connsiteX2" fmla="*/ 5974598 w 5974598"/>
              <a:gd name="connsiteY2" fmla="*/ 6315710 h 6315710"/>
              <a:gd name="connsiteX3" fmla="*/ 1132088 w 5974598"/>
              <a:gd name="connsiteY3" fmla="*/ 6315710 h 6315710"/>
              <a:gd name="connsiteX4" fmla="*/ 518 w 5974598"/>
              <a:gd name="connsiteY4" fmla="*/ 4560570 h 6315710"/>
              <a:gd name="connsiteX0" fmla="*/ 518 w 5974598"/>
              <a:gd name="connsiteY0" fmla="*/ 4560570 h 6315710"/>
              <a:gd name="connsiteX1" fmla="*/ 5974598 w 5974598"/>
              <a:gd name="connsiteY1" fmla="*/ 0 h 6315710"/>
              <a:gd name="connsiteX2" fmla="*/ 5974598 w 5974598"/>
              <a:gd name="connsiteY2" fmla="*/ 6315710 h 6315710"/>
              <a:gd name="connsiteX3" fmla="*/ 1132088 w 5974598"/>
              <a:gd name="connsiteY3" fmla="*/ 6315710 h 6315710"/>
              <a:gd name="connsiteX4" fmla="*/ 518 w 5974598"/>
              <a:gd name="connsiteY4" fmla="*/ 4560570 h 6315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74598" h="6315710">
                <a:moveTo>
                  <a:pt x="518" y="4560570"/>
                </a:moveTo>
                <a:cubicBezTo>
                  <a:pt x="37348" y="2640330"/>
                  <a:pt x="4371858" y="662940"/>
                  <a:pt x="5974598" y="0"/>
                </a:cubicBezTo>
                <a:lnTo>
                  <a:pt x="5974598" y="6315710"/>
                </a:lnTo>
                <a:lnTo>
                  <a:pt x="1132088" y="6315710"/>
                </a:lnTo>
                <a:cubicBezTo>
                  <a:pt x="160538" y="5810673"/>
                  <a:pt x="-10912" y="4962737"/>
                  <a:pt x="518" y="4560570"/>
                </a:cubicBezTo>
                <a:close/>
              </a:path>
            </a:pathLst>
          </a:cu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>
              <a:solidFill>
                <a:srgbClr val="FFFFFF"/>
              </a:solidFill>
            </a:endParaRPr>
          </a:p>
        </p:txBody>
      </p:sp>
      <p:pic>
        <p:nvPicPr>
          <p:cNvPr id="18" name="Imagem 17" descr="05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906" b="78125"/>
          <a:stretch>
            <a:fillRect/>
          </a:stretch>
        </p:blipFill>
        <p:spPr bwMode="auto">
          <a:xfrm>
            <a:off x="9071014" y="4867592"/>
            <a:ext cx="2884972" cy="1990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itle 3"/>
          <p:cNvSpPr txBox="1">
            <a:spLocks/>
          </p:cNvSpPr>
          <p:nvPr userDrawn="1"/>
        </p:nvSpPr>
        <p:spPr>
          <a:xfrm>
            <a:off x="8847973" y="3641522"/>
            <a:ext cx="3176562" cy="81738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pt-BR" sz="4800" dirty="0">
                <a:solidFill>
                  <a:srgbClr val="0079C3"/>
                </a:solidFill>
              </a:rPr>
              <a:t>Obrigado!</a:t>
            </a:r>
          </a:p>
        </p:txBody>
      </p:sp>
    </p:spTree>
    <p:extLst>
      <p:ext uri="{BB962C8B-B14F-4D97-AF65-F5344CB8AC3E}">
        <p14:creationId xmlns:p14="http://schemas.microsoft.com/office/powerpoint/2010/main" val="3380717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570" y="-1"/>
            <a:ext cx="12193801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>
                <a:solidFill>
                  <a:srgbClr val="575757"/>
                </a:solidFill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575757"/>
                  </a:solidFill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dirty="0">
                <a:solidFill>
                  <a:srgbClr val="575757"/>
                </a:solidFill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>
                <a:solidFill>
                  <a:srgbClr val="575757"/>
                </a:solidFill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>
                <a:solidFill>
                  <a:srgbClr val="575757"/>
                </a:solidFill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575757"/>
                  </a:solidFill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pt-BR" sz="1200" dirty="0">
                <a:solidFill>
                  <a:prstClr val="white"/>
                </a:solidFill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1" y="6144442"/>
              <a:ext cx="9030913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1.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xxxx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  2.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xxxx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  3.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List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footnotes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in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numerical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order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.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Footnote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numbers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are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not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bracketed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. Use 10pt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font</a:t>
              </a:r>
              <a:endParaRPr lang="pt-BR" sz="10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Note: Do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not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put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a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period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at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the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end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of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the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note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or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the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source</a:t>
              </a:r>
              <a:endParaRPr lang="pt-BR" sz="10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Source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: Include a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source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for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every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chart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that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you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use.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Separate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sources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with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a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semicolon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; BCG-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related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sources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go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at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the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end</a:t>
              </a:r>
              <a:endParaRPr lang="pt-BR" sz="10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endParaRP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9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4890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m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" y="-4732"/>
            <a:ext cx="12190412" cy="575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Imagem 10" descr="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750"/>
          <a:stretch>
            <a:fillRect/>
          </a:stretch>
        </p:blipFill>
        <p:spPr bwMode="auto">
          <a:xfrm>
            <a:off x="31" y="3397250"/>
            <a:ext cx="12190412" cy="3462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477216" y="6110708"/>
            <a:ext cx="6408523" cy="294579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date/</a:t>
            </a:r>
            <a:r>
              <a:rPr lang="pt-BR" dirty="0" err="1"/>
              <a:t>place</a:t>
            </a:r>
            <a:endParaRPr lang="pt-BR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77216" y="5584360"/>
            <a:ext cx="6408523" cy="286017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 err="1"/>
              <a:t>Subtitle</a:t>
            </a:r>
            <a:r>
              <a:rPr lang="pt-BR" dirty="0"/>
              <a:t> in </a:t>
            </a:r>
            <a:r>
              <a:rPr lang="pt-BR" dirty="0" err="1"/>
              <a:t>sentence</a:t>
            </a:r>
            <a:r>
              <a:rPr lang="pt-BR" dirty="0"/>
              <a:t> case</a:t>
            </a:r>
          </a:p>
        </p:txBody>
      </p:sp>
      <p:sp>
        <p:nvSpPr>
          <p:cNvPr id="28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77216" y="4858865"/>
            <a:ext cx="6408523" cy="725466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0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pt-BR" dirty="0" err="1"/>
              <a:t>Title</a:t>
            </a:r>
            <a:r>
              <a:rPr lang="pt-BR" dirty="0"/>
              <a:t> in </a:t>
            </a:r>
            <a:r>
              <a:rPr lang="pt-BR" dirty="0" err="1"/>
              <a:t>Title</a:t>
            </a:r>
            <a:r>
              <a:rPr lang="pt-BR" dirty="0"/>
              <a:t> Case</a:t>
            </a:r>
          </a:p>
        </p:txBody>
      </p:sp>
      <p:pic>
        <p:nvPicPr>
          <p:cNvPr id="29" name="Imagem 16" descr="04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958"/>
          <a:stretch>
            <a:fillRect/>
          </a:stretch>
        </p:blipFill>
        <p:spPr bwMode="auto">
          <a:xfrm>
            <a:off x="3214719" y="5302281"/>
            <a:ext cx="8975724" cy="155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Imagem 17" descr="05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906" b="78125"/>
          <a:stretch>
            <a:fillRect/>
          </a:stretch>
        </p:blipFill>
        <p:spPr bwMode="auto">
          <a:xfrm>
            <a:off x="8572213" y="5194330"/>
            <a:ext cx="2662238" cy="1836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683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31" y="298721"/>
            <a:ext cx="10226686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pic>
        <p:nvPicPr>
          <p:cNvPr id="6" name="Picture 6" descr="fundo2"/>
          <p:cNvPicPr>
            <a:picLocks noChangeAspect="1" noChangeArrowheads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" y="6359236"/>
            <a:ext cx="12190412" cy="500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Conector reto 5"/>
          <p:cNvCxnSpPr/>
          <p:nvPr userDrawn="1"/>
        </p:nvCxnSpPr>
        <p:spPr>
          <a:xfrm>
            <a:off x="31" y="1208626"/>
            <a:ext cx="12190412" cy="0"/>
          </a:xfrm>
          <a:prstGeom prst="line">
            <a:avLst/>
          </a:prstGeom>
          <a:ln w="25400">
            <a:solidFill>
              <a:srgbClr val="0079C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Eletrobras-logo-transp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7508" y="471306"/>
            <a:ext cx="766336" cy="4260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299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30" y="-1278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30" y="2159018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subtitle</a:t>
            </a:r>
            <a:endParaRPr lang="pt-BR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30" y="1227079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2704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m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3085" y="2951260"/>
            <a:ext cx="3443102" cy="3126841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baseline="0"/>
            </a:lvl1pPr>
            <a:lvl2pPr>
              <a:spcBef>
                <a:spcPts val="1200"/>
              </a:spcBef>
              <a:defRPr/>
            </a:lvl2pPr>
            <a:lvl3pPr>
              <a:spcBef>
                <a:spcPts val="1200"/>
              </a:spcBef>
              <a:defRPr/>
            </a:lvl3pPr>
            <a:lvl4pPr>
              <a:spcBef>
                <a:spcPts val="1200"/>
              </a:spcBef>
              <a:defRPr/>
            </a:lvl4pPr>
            <a:lvl5pPr>
              <a:spcBef>
                <a:spcPts val="1200"/>
              </a:spcBef>
              <a:defRPr/>
            </a:lvl5pPr>
          </a:lstStyle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+mn-lt"/>
                <a:ea typeface="+mn-ea"/>
                <a:cs typeface="Aharoni" panose="02010803020104030203" pitchFamily="2" charset="-79"/>
              </a:rPr>
              <a:t>Click para entrar com o seu texto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3085" y="1374041"/>
            <a:ext cx="3443102" cy="1281392"/>
          </a:xfrm>
        </p:spPr>
        <p:txBody>
          <a:bodyPr>
            <a:noAutofit/>
          </a:bodyPr>
          <a:lstStyle>
            <a:lvl1pPr algn="l">
              <a:defRPr sz="4400" b="0">
                <a:latin typeface="+mj-lt"/>
              </a:defRPr>
            </a:lvl1pPr>
          </a:lstStyle>
          <a:p>
            <a:r>
              <a:rPr lang="pt-BR" dirty="0"/>
              <a:t>Click para editar o título</a:t>
            </a:r>
            <a:endParaRPr lang="en-US" dirty="0"/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6E308D90-D9CB-4998-96FD-2B07FD01D925}"/>
              </a:ext>
            </a:extLst>
          </p:cNvPr>
          <p:cNvSpPr/>
          <p:nvPr userDrawn="1"/>
        </p:nvSpPr>
        <p:spPr>
          <a:xfrm>
            <a:off x="4443662" y="0"/>
            <a:ext cx="7748338" cy="6858000"/>
          </a:xfrm>
          <a:prstGeom prst="rect">
            <a:avLst/>
          </a:prstGeom>
          <a:gradFill>
            <a:gsLst>
              <a:gs pos="0">
                <a:schemeClr val="accent1">
                  <a:alpha val="80000"/>
                </a:schemeClr>
              </a:gs>
              <a:gs pos="100000">
                <a:schemeClr val="accent2">
                  <a:alpha val="80000"/>
                </a:schemeClr>
              </a:gs>
            </a:gsLst>
            <a:lin ang="2700000" scaled="1"/>
          </a:gradFill>
          <a:ln>
            <a:noFill/>
          </a:ln>
          <a:effectLst>
            <a:outerShdw blurRad="2921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2463" y="6335388"/>
            <a:ext cx="1332148" cy="370041"/>
          </a:xfrm>
          <a:prstGeom prst="rect">
            <a:avLst/>
          </a:prstGeom>
        </p:spPr>
      </p:pic>
      <p:grpSp>
        <p:nvGrpSpPr>
          <p:cNvPr id="2" name="Grupo 1"/>
          <p:cNvGrpSpPr/>
          <p:nvPr userDrawn="1"/>
        </p:nvGrpSpPr>
        <p:grpSpPr>
          <a:xfrm>
            <a:off x="30" y="6418292"/>
            <a:ext cx="4016188" cy="330804"/>
            <a:chOff x="-1" y="6418262"/>
            <a:chExt cx="4016189" cy="330804"/>
          </a:xfrm>
        </p:grpSpPr>
        <p:sp>
          <p:nvSpPr>
            <p:cNvPr id="15" name="TextBox 11"/>
            <p:cNvSpPr txBox="1"/>
            <p:nvPr userDrawn="1"/>
          </p:nvSpPr>
          <p:spPr>
            <a:xfrm>
              <a:off x="231819" y="6457866"/>
              <a:ext cx="147975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pt-BR" sz="1100" b="1" kern="1200" dirty="0" err="1">
                  <a:solidFill>
                    <a:schemeClr val="bg1">
                      <a:lumMod val="50000"/>
                    </a:schemeClr>
                  </a:solidFill>
                  <a:latin typeface="+mj-lt"/>
                  <a:ea typeface="+mn-ea"/>
                  <a:cs typeface="+mn-cs"/>
                </a:rPr>
                <a:t>PDNG</a:t>
              </a:r>
              <a:r>
                <a:rPr lang="pt-BR" sz="1100" b="1" kern="1200" dirty="0">
                  <a:solidFill>
                    <a:schemeClr val="bg1">
                      <a:lumMod val="50000"/>
                    </a:schemeClr>
                  </a:solidFill>
                  <a:latin typeface="+mj-lt"/>
                  <a:ea typeface="+mn-ea"/>
                  <a:cs typeface="+mn-cs"/>
                </a:rPr>
                <a:t> 2019-2023</a:t>
              </a:r>
              <a:endParaRPr lang="en-US" sz="1100" dirty="0">
                <a:solidFill>
                  <a:schemeClr val="bg1">
                    <a:lumMod val="50000"/>
                  </a:schemeClr>
                </a:solidFill>
                <a:latin typeface="+mj-lt"/>
              </a:endParaRPr>
            </a:p>
          </p:txBody>
        </p:sp>
        <p:cxnSp>
          <p:nvCxnSpPr>
            <p:cNvPr id="16" name="Straight Connector 12"/>
            <p:cNvCxnSpPr/>
            <p:nvPr userDrawn="1"/>
          </p:nvCxnSpPr>
          <p:spPr>
            <a:xfrm>
              <a:off x="0" y="6719476"/>
              <a:ext cx="160986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1"/>
            <p:cNvSpPr txBox="1"/>
            <p:nvPr userDrawn="1"/>
          </p:nvSpPr>
          <p:spPr>
            <a:xfrm>
              <a:off x="1711569" y="6454192"/>
              <a:ext cx="230461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pt-BR" sz="1100" b="0" kern="1200" dirty="0">
                  <a:solidFill>
                    <a:schemeClr val="bg1">
                      <a:lumMod val="50000"/>
                    </a:schemeClr>
                  </a:solidFill>
                  <a:latin typeface="+mj-lt"/>
                  <a:ea typeface="+mn-ea"/>
                  <a:cs typeface="+mn-cs"/>
                </a:rPr>
                <a:t>Plano Diretor de Negócios e Gestão</a:t>
              </a:r>
              <a:endParaRPr lang="en-US" sz="1100" b="0" dirty="0">
                <a:solidFill>
                  <a:schemeClr val="bg1">
                    <a:lumMod val="50000"/>
                  </a:schemeClr>
                </a:solidFill>
                <a:latin typeface="+mj-lt"/>
              </a:endParaRPr>
            </a:p>
          </p:txBody>
        </p:sp>
        <p:sp>
          <p:nvSpPr>
            <p:cNvPr id="18" name="Slide Number Placeholder 5"/>
            <p:cNvSpPr txBox="1">
              <a:spLocks/>
            </p:cNvSpPr>
            <p:nvPr userDrawn="1"/>
          </p:nvSpPr>
          <p:spPr>
            <a:xfrm>
              <a:off x="73343" y="6418262"/>
              <a:ext cx="426398" cy="301214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en-US"/>
              </a:defPPr>
              <a:lvl1pPr marL="0" algn="r" defTabSz="914400" rtl="0" eaLnBrk="1" latinLnBrk="0" hangingPunct="1">
                <a:defRPr sz="2400" kern="1200">
                  <a:solidFill>
                    <a:schemeClr val="tx1"/>
                  </a:solidFill>
                  <a:latin typeface="Raleway" panose="020B0503030101060003" pitchFamily="34" charset="0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fld id="{CCA817B1-E75C-4DB8-9B0A-1A0AC25A777C}" type="slidenum">
                <a:rPr lang="en-GB" sz="800" smtClean="0">
                  <a:solidFill>
                    <a:schemeClr val="bg1">
                      <a:lumMod val="50000"/>
                    </a:schemeClr>
                  </a:solidFill>
                  <a:latin typeface="+mj-lt"/>
                </a:rPr>
                <a:pPr algn="ctr"/>
                <a:t>‹nº›</a:t>
              </a:fld>
              <a:endParaRPr lang="en-GB" sz="800" dirty="0">
                <a:solidFill>
                  <a:schemeClr val="bg1">
                    <a:lumMod val="50000"/>
                  </a:schemeClr>
                </a:solidFill>
                <a:latin typeface="+mj-lt"/>
              </a:endParaRPr>
            </a:p>
          </p:txBody>
        </p:sp>
        <p:sp>
          <p:nvSpPr>
            <p:cNvPr id="19" name="Rectangle 9"/>
            <p:cNvSpPr/>
            <p:nvPr userDrawn="1"/>
          </p:nvSpPr>
          <p:spPr>
            <a:xfrm rot="2700000">
              <a:off x="92006" y="6535483"/>
              <a:ext cx="90117" cy="90117"/>
            </a:xfrm>
            <a:custGeom>
              <a:avLst/>
              <a:gdLst>
                <a:gd name="connsiteX0" fmla="*/ 0 w 531091"/>
                <a:gd name="connsiteY0" fmla="*/ 0 h 531091"/>
                <a:gd name="connsiteX1" fmla="*/ 531091 w 531091"/>
                <a:gd name="connsiteY1" fmla="*/ 0 h 531091"/>
                <a:gd name="connsiteX2" fmla="*/ 531091 w 531091"/>
                <a:gd name="connsiteY2" fmla="*/ 531091 h 531091"/>
                <a:gd name="connsiteX3" fmla="*/ 0 w 531091"/>
                <a:gd name="connsiteY3" fmla="*/ 531091 h 531091"/>
                <a:gd name="connsiteX4" fmla="*/ 0 w 531091"/>
                <a:gd name="connsiteY4" fmla="*/ 0 h 531091"/>
                <a:gd name="connsiteX0" fmla="*/ 0 w 531091"/>
                <a:gd name="connsiteY0" fmla="*/ 0 h 531091"/>
                <a:gd name="connsiteX1" fmla="*/ 531091 w 531091"/>
                <a:gd name="connsiteY1" fmla="*/ 531091 h 531091"/>
                <a:gd name="connsiteX2" fmla="*/ 0 w 531091"/>
                <a:gd name="connsiteY2" fmla="*/ 531091 h 531091"/>
                <a:gd name="connsiteX3" fmla="*/ 0 w 531091"/>
                <a:gd name="connsiteY3" fmla="*/ 0 h 531091"/>
                <a:gd name="connsiteX0" fmla="*/ 0 w 531091"/>
                <a:gd name="connsiteY0" fmla="*/ 0 h 531091"/>
                <a:gd name="connsiteX1" fmla="*/ 230909 w 531091"/>
                <a:gd name="connsiteY1" fmla="*/ 224312 h 531091"/>
                <a:gd name="connsiteX2" fmla="*/ 531091 w 531091"/>
                <a:gd name="connsiteY2" fmla="*/ 531091 h 531091"/>
                <a:gd name="connsiteX3" fmla="*/ 0 w 531091"/>
                <a:gd name="connsiteY3" fmla="*/ 531091 h 531091"/>
                <a:gd name="connsiteX4" fmla="*/ 0 w 531091"/>
                <a:gd name="connsiteY4" fmla="*/ 0 h 531091"/>
                <a:gd name="connsiteX0" fmla="*/ 230909 w 531091"/>
                <a:gd name="connsiteY0" fmla="*/ 224312 h 531091"/>
                <a:gd name="connsiteX1" fmla="*/ 531091 w 531091"/>
                <a:gd name="connsiteY1" fmla="*/ 531091 h 531091"/>
                <a:gd name="connsiteX2" fmla="*/ 0 w 531091"/>
                <a:gd name="connsiteY2" fmla="*/ 531091 h 531091"/>
                <a:gd name="connsiteX3" fmla="*/ 0 w 531091"/>
                <a:gd name="connsiteY3" fmla="*/ 0 h 531091"/>
                <a:gd name="connsiteX4" fmla="*/ 322349 w 531091"/>
                <a:gd name="connsiteY4" fmla="*/ 315752 h 531091"/>
                <a:gd name="connsiteX0" fmla="*/ 343065 w 531091"/>
                <a:gd name="connsiteY0" fmla="*/ 89066 h 531091"/>
                <a:gd name="connsiteX1" fmla="*/ 531091 w 531091"/>
                <a:gd name="connsiteY1" fmla="*/ 531091 h 531091"/>
                <a:gd name="connsiteX2" fmla="*/ 0 w 531091"/>
                <a:gd name="connsiteY2" fmla="*/ 531091 h 531091"/>
                <a:gd name="connsiteX3" fmla="*/ 0 w 531091"/>
                <a:gd name="connsiteY3" fmla="*/ 0 h 531091"/>
                <a:gd name="connsiteX4" fmla="*/ 322349 w 531091"/>
                <a:gd name="connsiteY4" fmla="*/ 315752 h 531091"/>
                <a:gd name="connsiteX0" fmla="*/ 531091 w 531091"/>
                <a:gd name="connsiteY0" fmla="*/ 531091 h 531091"/>
                <a:gd name="connsiteX1" fmla="*/ 0 w 531091"/>
                <a:gd name="connsiteY1" fmla="*/ 531091 h 531091"/>
                <a:gd name="connsiteX2" fmla="*/ 0 w 531091"/>
                <a:gd name="connsiteY2" fmla="*/ 0 h 531091"/>
                <a:gd name="connsiteX3" fmla="*/ 322349 w 531091"/>
                <a:gd name="connsiteY3" fmla="*/ 315752 h 531091"/>
                <a:gd name="connsiteX0" fmla="*/ 531091 w 531091"/>
                <a:gd name="connsiteY0" fmla="*/ 531091 h 531091"/>
                <a:gd name="connsiteX1" fmla="*/ 0 w 531091"/>
                <a:gd name="connsiteY1" fmla="*/ 531091 h 531091"/>
                <a:gd name="connsiteX2" fmla="*/ 0 w 531091"/>
                <a:gd name="connsiteY2" fmla="*/ 0 h 531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1091" h="531091">
                  <a:moveTo>
                    <a:pt x="531091" y="531091"/>
                  </a:moveTo>
                  <a:lnTo>
                    <a:pt x="0" y="531091"/>
                  </a:lnTo>
                  <a:lnTo>
                    <a:pt x="0" y="0"/>
                  </a:lnTo>
                </a:path>
              </a:pathLst>
            </a:custGeom>
            <a:noFill/>
            <a:ln w="6350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20" name="Rectangle 9"/>
            <p:cNvSpPr/>
            <p:nvPr userDrawn="1"/>
          </p:nvSpPr>
          <p:spPr>
            <a:xfrm rot="13500000">
              <a:off x="390959" y="6543356"/>
              <a:ext cx="90117" cy="90117"/>
            </a:xfrm>
            <a:custGeom>
              <a:avLst/>
              <a:gdLst>
                <a:gd name="connsiteX0" fmla="*/ 0 w 531091"/>
                <a:gd name="connsiteY0" fmla="*/ 0 h 531091"/>
                <a:gd name="connsiteX1" fmla="*/ 531091 w 531091"/>
                <a:gd name="connsiteY1" fmla="*/ 0 h 531091"/>
                <a:gd name="connsiteX2" fmla="*/ 531091 w 531091"/>
                <a:gd name="connsiteY2" fmla="*/ 531091 h 531091"/>
                <a:gd name="connsiteX3" fmla="*/ 0 w 531091"/>
                <a:gd name="connsiteY3" fmla="*/ 531091 h 531091"/>
                <a:gd name="connsiteX4" fmla="*/ 0 w 531091"/>
                <a:gd name="connsiteY4" fmla="*/ 0 h 531091"/>
                <a:gd name="connsiteX0" fmla="*/ 0 w 531091"/>
                <a:gd name="connsiteY0" fmla="*/ 0 h 531091"/>
                <a:gd name="connsiteX1" fmla="*/ 531091 w 531091"/>
                <a:gd name="connsiteY1" fmla="*/ 531091 h 531091"/>
                <a:gd name="connsiteX2" fmla="*/ 0 w 531091"/>
                <a:gd name="connsiteY2" fmla="*/ 531091 h 531091"/>
                <a:gd name="connsiteX3" fmla="*/ 0 w 531091"/>
                <a:gd name="connsiteY3" fmla="*/ 0 h 531091"/>
                <a:gd name="connsiteX0" fmla="*/ 0 w 531091"/>
                <a:gd name="connsiteY0" fmla="*/ 0 h 531091"/>
                <a:gd name="connsiteX1" fmla="*/ 230909 w 531091"/>
                <a:gd name="connsiteY1" fmla="*/ 224312 h 531091"/>
                <a:gd name="connsiteX2" fmla="*/ 531091 w 531091"/>
                <a:gd name="connsiteY2" fmla="*/ 531091 h 531091"/>
                <a:gd name="connsiteX3" fmla="*/ 0 w 531091"/>
                <a:gd name="connsiteY3" fmla="*/ 531091 h 531091"/>
                <a:gd name="connsiteX4" fmla="*/ 0 w 531091"/>
                <a:gd name="connsiteY4" fmla="*/ 0 h 531091"/>
                <a:gd name="connsiteX0" fmla="*/ 230909 w 531091"/>
                <a:gd name="connsiteY0" fmla="*/ 224312 h 531091"/>
                <a:gd name="connsiteX1" fmla="*/ 531091 w 531091"/>
                <a:gd name="connsiteY1" fmla="*/ 531091 h 531091"/>
                <a:gd name="connsiteX2" fmla="*/ 0 w 531091"/>
                <a:gd name="connsiteY2" fmla="*/ 531091 h 531091"/>
                <a:gd name="connsiteX3" fmla="*/ 0 w 531091"/>
                <a:gd name="connsiteY3" fmla="*/ 0 h 531091"/>
                <a:gd name="connsiteX4" fmla="*/ 322349 w 531091"/>
                <a:gd name="connsiteY4" fmla="*/ 315752 h 531091"/>
                <a:gd name="connsiteX0" fmla="*/ 343065 w 531091"/>
                <a:gd name="connsiteY0" fmla="*/ 89066 h 531091"/>
                <a:gd name="connsiteX1" fmla="*/ 531091 w 531091"/>
                <a:gd name="connsiteY1" fmla="*/ 531091 h 531091"/>
                <a:gd name="connsiteX2" fmla="*/ 0 w 531091"/>
                <a:gd name="connsiteY2" fmla="*/ 531091 h 531091"/>
                <a:gd name="connsiteX3" fmla="*/ 0 w 531091"/>
                <a:gd name="connsiteY3" fmla="*/ 0 h 531091"/>
                <a:gd name="connsiteX4" fmla="*/ 322349 w 531091"/>
                <a:gd name="connsiteY4" fmla="*/ 315752 h 531091"/>
                <a:gd name="connsiteX0" fmla="*/ 531091 w 531091"/>
                <a:gd name="connsiteY0" fmla="*/ 531091 h 531091"/>
                <a:gd name="connsiteX1" fmla="*/ 0 w 531091"/>
                <a:gd name="connsiteY1" fmla="*/ 531091 h 531091"/>
                <a:gd name="connsiteX2" fmla="*/ 0 w 531091"/>
                <a:gd name="connsiteY2" fmla="*/ 0 h 531091"/>
                <a:gd name="connsiteX3" fmla="*/ 322349 w 531091"/>
                <a:gd name="connsiteY3" fmla="*/ 315752 h 531091"/>
                <a:gd name="connsiteX0" fmla="*/ 531091 w 531091"/>
                <a:gd name="connsiteY0" fmla="*/ 531091 h 531091"/>
                <a:gd name="connsiteX1" fmla="*/ 0 w 531091"/>
                <a:gd name="connsiteY1" fmla="*/ 531091 h 531091"/>
                <a:gd name="connsiteX2" fmla="*/ 0 w 531091"/>
                <a:gd name="connsiteY2" fmla="*/ 0 h 531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1091" h="531091">
                  <a:moveTo>
                    <a:pt x="531091" y="531091"/>
                  </a:moveTo>
                  <a:lnTo>
                    <a:pt x="0" y="531091"/>
                  </a:lnTo>
                  <a:lnTo>
                    <a:pt x="0" y="0"/>
                  </a:lnTo>
                </a:path>
              </a:pathLst>
            </a:custGeom>
            <a:noFill/>
            <a:ln w="6350" cmpd="sng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21" name="Action Button: Forward or Next 26">
              <a:hlinkClick r:id="" action="ppaction://hlinkshowjump?jump=nextslide" highlightClick="1"/>
            </p:cNvPr>
            <p:cNvSpPr/>
            <p:nvPr userDrawn="1"/>
          </p:nvSpPr>
          <p:spPr>
            <a:xfrm>
              <a:off x="396810" y="6446666"/>
              <a:ext cx="176275" cy="302400"/>
            </a:xfrm>
            <a:prstGeom prst="actionButtonForwardNext">
              <a:avLst/>
            </a:prstGeom>
            <a:solidFill>
              <a:srgbClr val="00CAC5">
                <a:alpha val="0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sp>
          <p:nvSpPr>
            <p:cNvPr id="22" name="Action Button: Back or Previous 27">
              <a:hlinkClick r:id="" action="ppaction://hlinkshowjump?jump=previousslide" highlightClick="1"/>
            </p:cNvPr>
            <p:cNvSpPr/>
            <p:nvPr userDrawn="1"/>
          </p:nvSpPr>
          <p:spPr>
            <a:xfrm>
              <a:off x="-1" y="6446666"/>
              <a:ext cx="176400" cy="302400"/>
            </a:xfrm>
            <a:prstGeom prst="actionButtonBackPrevious">
              <a:avLst/>
            </a:prstGeom>
            <a:solidFill>
              <a:srgbClr val="00CAC5">
                <a:alpha val="0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613383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73" y="266807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section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724" y="1424112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822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3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section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31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6280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5025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31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4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/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9954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38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1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31"/>
            <a:ext cx="6276530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/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2919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77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622831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/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9755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100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4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94" y="-1278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655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613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29" y="0"/>
            <a:ext cx="6096002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52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icon</a:t>
            </a:r>
            <a:r>
              <a:rPr lang="pt-BR" dirty="0"/>
              <a:t> </a:t>
            </a:r>
            <a:r>
              <a:rPr lang="pt-BR" dirty="0" err="1"/>
              <a:t>below</a:t>
            </a:r>
            <a:r>
              <a:rPr lang="pt-BR" dirty="0"/>
              <a:t>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insert</a:t>
            </a:r>
            <a:r>
              <a:rPr lang="pt-BR" dirty="0"/>
              <a:t> </a:t>
            </a:r>
            <a:r>
              <a:rPr lang="pt-BR" dirty="0" err="1"/>
              <a:t>an</a:t>
            </a:r>
            <a:r>
              <a:rPr lang="pt-BR" dirty="0"/>
              <a:t> </a:t>
            </a:r>
            <a:r>
              <a:rPr lang="pt-BR" dirty="0" err="1"/>
              <a:t>image</a:t>
            </a:r>
            <a:r>
              <a:rPr lang="pt-BR" dirty="0"/>
              <a:t> </a:t>
            </a:r>
            <a:r>
              <a:rPr lang="pt-BR" dirty="0" err="1"/>
              <a:t>or</a:t>
            </a:r>
            <a:r>
              <a:rPr lang="pt-BR" dirty="0"/>
              <a:t> remove </a:t>
            </a:r>
            <a:r>
              <a:rPr lang="pt-BR" dirty="0" err="1"/>
              <a:t>this</a:t>
            </a:r>
            <a:r>
              <a:rPr lang="pt-BR" dirty="0"/>
              <a:t> </a:t>
            </a:r>
            <a:r>
              <a:rPr lang="pt-BR" dirty="0" err="1"/>
              <a:t>placeholder</a:t>
            </a:r>
            <a:r>
              <a:rPr lang="pt-BR" dirty="0"/>
              <a:t> </a:t>
            </a:r>
            <a:r>
              <a:rPr lang="pt-BR" dirty="0" err="1"/>
              <a:t>to</a:t>
            </a:r>
            <a:r>
              <a:rPr lang="pt-BR" dirty="0"/>
              <a:t> use </a:t>
            </a:r>
            <a:r>
              <a:rPr lang="pt-BR" dirty="0" err="1"/>
              <a:t>the</a:t>
            </a:r>
            <a:r>
              <a:rPr lang="pt-BR" dirty="0"/>
              <a:t> </a:t>
            </a:r>
            <a:r>
              <a:rPr lang="pt-BR" dirty="0" err="1"/>
              <a:t>whitespace</a:t>
            </a:r>
            <a:r>
              <a:rPr lang="pt-BR" dirty="0"/>
              <a:t> in </a:t>
            </a:r>
            <a:r>
              <a:rPr lang="pt-BR" dirty="0" err="1"/>
              <a:t>another</a:t>
            </a:r>
            <a:r>
              <a:rPr lang="pt-BR" dirty="0"/>
              <a:t> </a:t>
            </a:r>
            <a:r>
              <a:rPr lang="pt-BR" dirty="0" err="1"/>
              <a:t>way</a:t>
            </a:r>
            <a:endParaRPr lang="pt-BR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31" y="178563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2729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80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74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5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icon</a:t>
            </a:r>
            <a:r>
              <a:rPr lang="pt-BR" dirty="0"/>
              <a:t> </a:t>
            </a:r>
            <a:r>
              <a:rPr lang="pt-BR" dirty="0" err="1"/>
              <a:t>below</a:t>
            </a:r>
            <a:r>
              <a:rPr lang="pt-BR" dirty="0"/>
              <a:t>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insert</a:t>
            </a:r>
            <a:r>
              <a:rPr lang="pt-BR" dirty="0"/>
              <a:t> </a:t>
            </a:r>
            <a:r>
              <a:rPr lang="pt-BR" dirty="0" err="1"/>
              <a:t>an</a:t>
            </a:r>
            <a:r>
              <a:rPr lang="pt-BR" dirty="0"/>
              <a:t> </a:t>
            </a:r>
            <a:r>
              <a:rPr lang="pt-BR" dirty="0" err="1"/>
              <a:t>image</a:t>
            </a:r>
            <a:r>
              <a:rPr lang="pt-BR" dirty="0"/>
              <a:t> </a:t>
            </a:r>
            <a:r>
              <a:rPr lang="pt-BR" dirty="0" err="1"/>
              <a:t>or</a:t>
            </a:r>
            <a:r>
              <a:rPr lang="pt-BR" dirty="0"/>
              <a:t> remove </a:t>
            </a:r>
            <a:r>
              <a:rPr lang="pt-BR" dirty="0" err="1"/>
              <a:t>this</a:t>
            </a:r>
            <a:r>
              <a:rPr lang="pt-BR" dirty="0"/>
              <a:t> </a:t>
            </a:r>
            <a:r>
              <a:rPr lang="pt-BR" dirty="0" err="1"/>
              <a:t>placeholder</a:t>
            </a:r>
            <a:r>
              <a:rPr lang="pt-BR" dirty="0"/>
              <a:t> </a:t>
            </a:r>
            <a:r>
              <a:rPr lang="pt-BR" dirty="0" err="1"/>
              <a:t>to</a:t>
            </a:r>
            <a:r>
              <a:rPr lang="pt-BR" dirty="0"/>
              <a:t> use </a:t>
            </a:r>
            <a:r>
              <a:rPr lang="pt-BR" dirty="0" err="1"/>
              <a:t>the</a:t>
            </a:r>
            <a:r>
              <a:rPr lang="pt-BR" dirty="0"/>
              <a:t> </a:t>
            </a:r>
            <a:r>
              <a:rPr lang="pt-BR" dirty="0" err="1"/>
              <a:t>whitespace</a:t>
            </a:r>
            <a:r>
              <a:rPr lang="pt-BR" dirty="0"/>
              <a:t> in </a:t>
            </a:r>
            <a:r>
              <a:rPr lang="pt-BR" dirty="0" err="1"/>
              <a:t>another</a:t>
            </a:r>
            <a:r>
              <a:rPr lang="pt-BR" dirty="0"/>
              <a:t> </a:t>
            </a:r>
            <a:r>
              <a:rPr lang="pt-BR" dirty="0" err="1"/>
              <a:t>way</a:t>
            </a:r>
            <a:endParaRPr lang="pt-BR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65" y="178563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387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1066729"/>
              </p:ext>
            </p:extLst>
          </p:nvPr>
        </p:nvGraphicFramePr>
        <p:xfrm>
          <a:off x="1618" y="161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1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8" y="161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3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34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pt-BR" dirty="0">
                <a:solidFill>
                  <a:schemeClr val="tx2"/>
                </a:solidFill>
              </a:rPr>
              <a:t>Click </a:t>
            </a:r>
            <a:r>
              <a:rPr lang="pt-BR" dirty="0" err="1">
                <a:solidFill>
                  <a:schemeClr val="tx2"/>
                </a:solidFill>
              </a:rPr>
              <a:t>to</a:t>
            </a:r>
            <a:r>
              <a:rPr lang="pt-BR" dirty="0">
                <a:solidFill>
                  <a:schemeClr val="tx2"/>
                </a:solidFill>
              </a:rPr>
              <a:t> </a:t>
            </a:r>
            <a:r>
              <a:rPr lang="pt-BR" dirty="0" err="1">
                <a:solidFill>
                  <a:schemeClr val="tx2"/>
                </a:solidFill>
              </a:rPr>
              <a:t>add</a:t>
            </a:r>
            <a:r>
              <a:rPr lang="pt-BR" dirty="0">
                <a:solidFill>
                  <a:schemeClr val="tx2"/>
                </a:solidFill>
              </a:rPr>
              <a:t> </a:t>
            </a:r>
            <a:r>
              <a:rPr lang="pt-BR" dirty="0" err="1">
                <a:solidFill>
                  <a:schemeClr val="tx2"/>
                </a:solidFill>
              </a:rPr>
              <a:t>title</a:t>
            </a:r>
            <a:endParaRPr lang="pt-BR" dirty="0">
              <a:solidFill>
                <a:schemeClr val="tx2"/>
              </a:solidFill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/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3" y="359042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16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3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34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59"/>
            <a:ext cx="2694667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2010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Abertura Váz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02505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1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31" y="178563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/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423"/>
            <a:ext cx="1298574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7737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1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31" y="178563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8" y="3416300"/>
            <a:ext cx="2694667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0184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1" y="0"/>
            <a:ext cx="6363547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31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/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7" y="3589607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0344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1" y="0"/>
            <a:ext cx="636354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31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201" y="3407833"/>
            <a:ext cx="2694667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595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1" y="0"/>
            <a:ext cx="8446238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31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/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0" y="3589607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9810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1" y="0"/>
            <a:ext cx="8446238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31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33"/>
            <a:ext cx="2694667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3118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31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big </a:t>
            </a:r>
            <a:r>
              <a:rPr lang="pt-BR" dirty="0" err="1"/>
              <a:t>statement</a:t>
            </a:r>
            <a:r>
              <a:rPr lang="pt-BR" dirty="0"/>
              <a:t> </a:t>
            </a:r>
            <a:r>
              <a:rPr lang="pt-BR" dirty="0" err="1"/>
              <a:t>text</a:t>
            </a:r>
            <a:endParaRPr lang="pt-BR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/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6696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31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31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big </a:t>
            </a:r>
            <a:r>
              <a:rPr lang="pt-BR" dirty="0" err="1"/>
              <a:t>statement</a:t>
            </a:r>
            <a:r>
              <a:rPr lang="pt-BR" dirty="0"/>
              <a:t> </a:t>
            </a:r>
            <a:r>
              <a:rPr lang="pt-BR" dirty="0" err="1"/>
              <a:t>text</a:t>
            </a:r>
            <a:endParaRPr lang="pt-BR" dirty="0"/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0696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2981779"/>
              </p:ext>
            </p:extLst>
          </p:nvPr>
        </p:nvGraphicFramePr>
        <p:xfrm>
          <a:off x="1618" y="161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5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8" y="161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92" y="101474"/>
            <a:ext cx="769257" cy="10019820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30" y="1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pt-BR" dirty="0">
              <a:solidFill>
                <a:srgbClr val="575757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1951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31" y="622831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/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6103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enas título e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que para editar o título</a:t>
            </a:r>
            <a:endParaRPr lang="en-US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1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t-BR" dirty="0"/>
              <a:t>Clique para editar o subtítu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889024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3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3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31" y="2577934"/>
            <a:ext cx="2819401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pt-BR" sz="5400" dirty="0" err="1">
                <a:solidFill>
                  <a:srgbClr val="0079C3"/>
                </a:solidFill>
                <a:sym typeface="Trebuchet MS" panose="020B0603020202020204" pitchFamily="34" charset="0"/>
              </a:rPr>
              <a:t>Table</a:t>
            </a:r>
            <a:r>
              <a:rPr lang="pt-BR" sz="5400" dirty="0">
                <a:solidFill>
                  <a:srgbClr val="0079C3"/>
                </a:solidFill>
                <a:sym typeface="Trebuchet MS" panose="020B0603020202020204" pitchFamily="34" charset="0"/>
              </a:rPr>
              <a:t> </a:t>
            </a:r>
            <a:r>
              <a:rPr lang="pt-BR" sz="5400" dirty="0" err="1">
                <a:solidFill>
                  <a:srgbClr val="0079C3"/>
                </a:solidFill>
                <a:sym typeface="Trebuchet MS" panose="020B0603020202020204" pitchFamily="34" charset="0"/>
              </a:rPr>
              <a:t>of</a:t>
            </a:r>
            <a:r>
              <a:rPr lang="pt-BR" sz="5400" dirty="0">
                <a:solidFill>
                  <a:srgbClr val="0079C3"/>
                </a:solidFill>
                <a:sym typeface="Trebuchet MS" panose="020B0603020202020204" pitchFamily="34" charset="0"/>
              </a:rPr>
              <a:t> </a:t>
            </a:r>
            <a:r>
              <a:rPr lang="pt-BR" sz="5400" dirty="0" err="1">
                <a:solidFill>
                  <a:srgbClr val="0079C3"/>
                </a:solidFill>
                <a:sym typeface="Trebuchet MS" panose="020B0603020202020204" pitchFamily="34" charset="0"/>
              </a:rPr>
              <a:t>contents</a:t>
            </a:r>
            <a:endParaRPr lang="pt-BR" sz="5400" dirty="0">
              <a:solidFill>
                <a:srgbClr val="0079C3"/>
              </a:solidFill>
              <a:sym typeface="Trebuchet MS" panose="020B060302020202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/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9" y="358677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8587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/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699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4531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3017" y="-4732"/>
            <a:ext cx="12205017" cy="5758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Imagem 10" descr="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750"/>
          <a:stretch>
            <a:fillRect/>
          </a:stretch>
        </p:blipFill>
        <p:spPr bwMode="auto">
          <a:xfrm flipH="1">
            <a:off x="-13017" y="3397250"/>
            <a:ext cx="12205017" cy="3462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Imagem 11" descr="03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375" t="26042"/>
          <a:stretch>
            <a:fillRect/>
          </a:stretch>
        </p:blipFill>
        <p:spPr bwMode="auto">
          <a:xfrm flipH="1" flipV="1">
            <a:off x="-26035" y="-4734"/>
            <a:ext cx="10539504" cy="6862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10"/>
          <p:cNvSpPr/>
          <p:nvPr userDrawn="1"/>
        </p:nvSpPr>
        <p:spPr>
          <a:xfrm>
            <a:off x="6228833" y="548640"/>
            <a:ext cx="5974597" cy="6315710"/>
          </a:xfrm>
          <a:custGeom>
            <a:avLst/>
            <a:gdLst>
              <a:gd name="connsiteX0" fmla="*/ 0 w 5962650"/>
              <a:gd name="connsiteY0" fmla="*/ 0 h 6315710"/>
              <a:gd name="connsiteX1" fmla="*/ 5962650 w 5962650"/>
              <a:gd name="connsiteY1" fmla="*/ 0 h 6315710"/>
              <a:gd name="connsiteX2" fmla="*/ 5962650 w 5962650"/>
              <a:gd name="connsiteY2" fmla="*/ 6315710 h 6315710"/>
              <a:gd name="connsiteX3" fmla="*/ 0 w 5962650"/>
              <a:gd name="connsiteY3" fmla="*/ 6315710 h 6315710"/>
              <a:gd name="connsiteX4" fmla="*/ 0 w 5962650"/>
              <a:gd name="connsiteY4" fmla="*/ 0 h 6315710"/>
              <a:gd name="connsiteX0" fmla="*/ 0 w 5974080"/>
              <a:gd name="connsiteY0" fmla="*/ 4560570 h 6315710"/>
              <a:gd name="connsiteX1" fmla="*/ 5974080 w 5974080"/>
              <a:gd name="connsiteY1" fmla="*/ 0 h 6315710"/>
              <a:gd name="connsiteX2" fmla="*/ 5974080 w 5974080"/>
              <a:gd name="connsiteY2" fmla="*/ 6315710 h 6315710"/>
              <a:gd name="connsiteX3" fmla="*/ 11430 w 5974080"/>
              <a:gd name="connsiteY3" fmla="*/ 6315710 h 6315710"/>
              <a:gd name="connsiteX4" fmla="*/ 0 w 5974080"/>
              <a:gd name="connsiteY4" fmla="*/ 4560570 h 6315710"/>
              <a:gd name="connsiteX0" fmla="*/ 0 w 5974080"/>
              <a:gd name="connsiteY0" fmla="*/ 4560570 h 6315710"/>
              <a:gd name="connsiteX1" fmla="*/ 5974080 w 5974080"/>
              <a:gd name="connsiteY1" fmla="*/ 0 h 6315710"/>
              <a:gd name="connsiteX2" fmla="*/ 5974080 w 5974080"/>
              <a:gd name="connsiteY2" fmla="*/ 6315710 h 6315710"/>
              <a:gd name="connsiteX3" fmla="*/ 1131570 w 5974080"/>
              <a:gd name="connsiteY3" fmla="*/ 6315710 h 6315710"/>
              <a:gd name="connsiteX4" fmla="*/ 0 w 5974080"/>
              <a:gd name="connsiteY4" fmla="*/ 4560570 h 6315710"/>
              <a:gd name="connsiteX0" fmla="*/ 0 w 5974080"/>
              <a:gd name="connsiteY0" fmla="*/ 4560570 h 6315710"/>
              <a:gd name="connsiteX1" fmla="*/ 5974080 w 5974080"/>
              <a:gd name="connsiteY1" fmla="*/ 0 h 6315710"/>
              <a:gd name="connsiteX2" fmla="*/ 5974080 w 5974080"/>
              <a:gd name="connsiteY2" fmla="*/ 6315710 h 6315710"/>
              <a:gd name="connsiteX3" fmla="*/ 1131570 w 5974080"/>
              <a:gd name="connsiteY3" fmla="*/ 6315710 h 6315710"/>
              <a:gd name="connsiteX4" fmla="*/ 0 w 5974080"/>
              <a:gd name="connsiteY4" fmla="*/ 4560570 h 6315710"/>
              <a:gd name="connsiteX0" fmla="*/ 518 w 5974598"/>
              <a:gd name="connsiteY0" fmla="*/ 4560570 h 6315710"/>
              <a:gd name="connsiteX1" fmla="*/ 5974598 w 5974598"/>
              <a:gd name="connsiteY1" fmla="*/ 0 h 6315710"/>
              <a:gd name="connsiteX2" fmla="*/ 5974598 w 5974598"/>
              <a:gd name="connsiteY2" fmla="*/ 6315710 h 6315710"/>
              <a:gd name="connsiteX3" fmla="*/ 1132088 w 5974598"/>
              <a:gd name="connsiteY3" fmla="*/ 6315710 h 6315710"/>
              <a:gd name="connsiteX4" fmla="*/ 518 w 5974598"/>
              <a:gd name="connsiteY4" fmla="*/ 4560570 h 6315710"/>
              <a:gd name="connsiteX0" fmla="*/ 518 w 5974598"/>
              <a:gd name="connsiteY0" fmla="*/ 4560570 h 6315710"/>
              <a:gd name="connsiteX1" fmla="*/ 5974598 w 5974598"/>
              <a:gd name="connsiteY1" fmla="*/ 0 h 6315710"/>
              <a:gd name="connsiteX2" fmla="*/ 5974598 w 5974598"/>
              <a:gd name="connsiteY2" fmla="*/ 6315710 h 6315710"/>
              <a:gd name="connsiteX3" fmla="*/ 1132088 w 5974598"/>
              <a:gd name="connsiteY3" fmla="*/ 6315710 h 6315710"/>
              <a:gd name="connsiteX4" fmla="*/ 518 w 5974598"/>
              <a:gd name="connsiteY4" fmla="*/ 4560570 h 6315710"/>
              <a:gd name="connsiteX0" fmla="*/ 518 w 5974598"/>
              <a:gd name="connsiteY0" fmla="*/ 4560570 h 6315710"/>
              <a:gd name="connsiteX1" fmla="*/ 5974598 w 5974598"/>
              <a:gd name="connsiteY1" fmla="*/ 0 h 6315710"/>
              <a:gd name="connsiteX2" fmla="*/ 5974598 w 5974598"/>
              <a:gd name="connsiteY2" fmla="*/ 6315710 h 6315710"/>
              <a:gd name="connsiteX3" fmla="*/ 1132088 w 5974598"/>
              <a:gd name="connsiteY3" fmla="*/ 6315710 h 6315710"/>
              <a:gd name="connsiteX4" fmla="*/ 518 w 5974598"/>
              <a:gd name="connsiteY4" fmla="*/ 4560570 h 6315710"/>
              <a:gd name="connsiteX0" fmla="*/ 518 w 5974598"/>
              <a:gd name="connsiteY0" fmla="*/ 4560570 h 6315710"/>
              <a:gd name="connsiteX1" fmla="*/ 5974598 w 5974598"/>
              <a:gd name="connsiteY1" fmla="*/ 0 h 6315710"/>
              <a:gd name="connsiteX2" fmla="*/ 5974598 w 5974598"/>
              <a:gd name="connsiteY2" fmla="*/ 6315710 h 6315710"/>
              <a:gd name="connsiteX3" fmla="*/ 1132088 w 5974598"/>
              <a:gd name="connsiteY3" fmla="*/ 6315710 h 6315710"/>
              <a:gd name="connsiteX4" fmla="*/ 518 w 5974598"/>
              <a:gd name="connsiteY4" fmla="*/ 4560570 h 6315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74598" h="6315710">
                <a:moveTo>
                  <a:pt x="518" y="4560570"/>
                </a:moveTo>
                <a:cubicBezTo>
                  <a:pt x="37348" y="2640330"/>
                  <a:pt x="4371858" y="662940"/>
                  <a:pt x="5974598" y="0"/>
                </a:cubicBezTo>
                <a:lnTo>
                  <a:pt x="5974598" y="6315710"/>
                </a:lnTo>
                <a:lnTo>
                  <a:pt x="1132088" y="6315710"/>
                </a:lnTo>
                <a:cubicBezTo>
                  <a:pt x="160538" y="5810673"/>
                  <a:pt x="-10912" y="4962737"/>
                  <a:pt x="518" y="4560570"/>
                </a:cubicBezTo>
                <a:close/>
              </a:path>
            </a:pathLst>
          </a:cu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200" dirty="0">
              <a:solidFill>
                <a:srgbClr val="FFFFFF"/>
              </a:solidFill>
            </a:endParaRPr>
          </a:p>
        </p:txBody>
      </p:sp>
      <p:pic>
        <p:nvPicPr>
          <p:cNvPr id="18" name="Imagem 17" descr="05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906" b="78125"/>
          <a:stretch>
            <a:fillRect/>
          </a:stretch>
        </p:blipFill>
        <p:spPr bwMode="auto">
          <a:xfrm>
            <a:off x="9071014" y="4867592"/>
            <a:ext cx="2884972" cy="1990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itle 3"/>
          <p:cNvSpPr txBox="1">
            <a:spLocks/>
          </p:cNvSpPr>
          <p:nvPr userDrawn="1"/>
        </p:nvSpPr>
        <p:spPr>
          <a:xfrm>
            <a:off x="8847973" y="3641522"/>
            <a:ext cx="3176562" cy="81738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pt-BR" sz="4800" dirty="0">
                <a:solidFill>
                  <a:srgbClr val="0079C3"/>
                </a:solidFill>
              </a:rPr>
              <a:t>Obrigado!</a:t>
            </a:r>
          </a:p>
        </p:txBody>
      </p:sp>
    </p:spTree>
    <p:extLst>
      <p:ext uri="{BB962C8B-B14F-4D97-AF65-F5344CB8AC3E}">
        <p14:creationId xmlns:p14="http://schemas.microsoft.com/office/powerpoint/2010/main" val="1652002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570" y="-1"/>
            <a:ext cx="12193801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>
                <a:solidFill>
                  <a:srgbClr val="575757"/>
                </a:solidFill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575757"/>
                  </a:solidFill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dirty="0">
                <a:solidFill>
                  <a:srgbClr val="575757"/>
                </a:solidFill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>
                <a:solidFill>
                  <a:srgbClr val="575757"/>
                </a:solidFill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>
                <a:solidFill>
                  <a:srgbClr val="575757"/>
                </a:solidFill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575757"/>
                  </a:solidFill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pt-BR" sz="1200" dirty="0">
                <a:solidFill>
                  <a:prstClr val="white"/>
                </a:solidFill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1" y="6144442"/>
              <a:ext cx="9030913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1.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xxxx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  2.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xxxx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  3.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List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footnotes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in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numerical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order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.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Footnote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numbers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are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not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bracketed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. Use 10pt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font</a:t>
              </a:r>
              <a:endParaRPr lang="pt-BR" sz="10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Note: Do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not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put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a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period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at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the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end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of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the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note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or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the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source</a:t>
              </a:r>
              <a:endParaRPr lang="pt-BR" sz="10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endParaRPr>
            </a:p>
            <a:p>
              <a:pPr>
                <a:lnSpc>
                  <a:spcPct val="90000"/>
                </a:lnSpc>
                <a:defRPr/>
              </a:pP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Source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: Include a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source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for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every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chart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that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you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use.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Separate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sources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with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a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semicolon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; BCG-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related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sources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go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at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the</a:t>
              </a:r>
              <a:r>
                <a:rPr lang="pt-BR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 </a:t>
              </a:r>
              <a:r>
                <a:rPr lang="pt-BR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end</a:t>
              </a:r>
              <a:endParaRPr lang="pt-BR" sz="10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endParaRP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5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8585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18" y="161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9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8" y="161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76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pt-BR" sz="2000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3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pt-BR" sz="1200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200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pt-BR" sz="5400" dirty="0">
              <a:solidFill>
                <a:prstClr val="white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29990" y="1115447"/>
            <a:ext cx="2448106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pt-BR" sz="5400" dirty="0">
                <a:solidFill>
                  <a:prstClr val="white"/>
                </a:solidFill>
              </a:rPr>
              <a:t>Agenda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8849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6598702"/>
              </p:ext>
            </p:extLst>
          </p:nvPr>
        </p:nvGraphicFramePr>
        <p:xfrm>
          <a:off x="1618" y="161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3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8" y="161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73" y="1428161"/>
            <a:ext cx="947673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3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pt-BR" sz="2000" dirty="0">
              <a:solidFill>
                <a:prstClr val="white"/>
              </a:solidFill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1231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18" y="161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7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8" y="161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pt-BR" dirty="0">
                <a:solidFill>
                  <a:prstClr val="white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929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705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18" y="161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1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8" y="161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100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94" y="-1278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46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3200" dirty="0">
                <a:solidFill>
                  <a:prstClr val="white"/>
                </a:solidFill>
              </a:rPr>
              <a:t>Agenda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3271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 0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572992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726566"/>
              </p:ext>
            </p:extLst>
          </p:nvPr>
        </p:nvGraphicFramePr>
        <p:xfrm>
          <a:off x="1618" y="161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5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8" y="161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76" y="4691187"/>
            <a:ext cx="929337" cy="995874"/>
          </a:xfrm>
          <a:prstGeom prst="rect">
            <a:avLst/>
          </a:prstGeom>
          <a:noFill/>
          <a:ln w="9525">
            <a:solidFill>
              <a:srgbClr val="0079C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pt-BR" sz="2000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3" cy="1468176"/>
          </a:xfrm>
          <a:prstGeom prst="rect">
            <a:avLst/>
          </a:prstGeom>
          <a:noFill/>
          <a:ln w="9525" cmpd="sng">
            <a:solidFill>
              <a:srgbClr val="0079C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pt-BR" sz="120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rgbClr val="0079C3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pt-BR" sz="5400" dirty="0">
              <a:solidFill>
                <a:srgbClr val="294053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29990" y="1115447"/>
            <a:ext cx="2448106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pt-BR" dirty="0">
                <a:solidFill>
                  <a:srgbClr val="0079C3"/>
                </a:solidFill>
              </a:rPr>
              <a:t>Agenda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5168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8926485"/>
              </p:ext>
            </p:extLst>
          </p:nvPr>
        </p:nvGraphicFramePr>
        <p:xfrm>
          <a:off x="1618" y="161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9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8" y="161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73" y="1428161"/>
            <a:ext cx="947673" cy="947672"/>
          </a:xfrm>
          <a:prstGeom prst="rect">
            <a:avLst/>
          </a:prstGeom>
          <a:noFill/>
          <a:ln w="9525">
            <a:solidFill>
              <a:srgbClr val="0079C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30"/>
            <a:ext cx="9619200" cy="3200400"/>
          </a:xfrm>
          <a:prstGeom prst="rect">
            <a:avLst/>
          </a:prstGeom>
          <a:noFill/>
          <a:ln w="9525">
            <a:solidFill>
              <a:srgbClr val="0079C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pt-BR" sz="2000" dirty="0">
              <a:solidFill>
                <a:prstClr val="white"/>
              </a:solidFill>
            </a:endParaRP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5312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18" y="161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3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8" y="161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pt-BR" dirty="0">
                <a:solidFill>
                  <a:srgbClr val="0079C3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929" y="1206000"/>
            <a:ext cx="11576304" cy="0"/>
          </a:xfrm>
          <a:prstGeom prst="line">
            <a:avLst/>
          </a:prstGeom>
          <a:ln w="9525" cmpd="sng">
            <a:solidFill>
              <a:srgbClr val="0079C3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537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18" y="161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7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8" y="161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100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94" y="-1278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1" y="5069412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2018 09 19 - Workshop PDNG 2019-23 - Cenários SWOT Diretrizes_vPost_CB.pptx</a:t>
            </a:r>
            <a:endParaRPr lang="pt-BR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1" y="3262176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2400" dirty="0">
                <a:solidFill>
                  <a:prstClr val="white"/>
                </a:solidFill>
              </a:rPr>
              <a:t>Agenda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0114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18" y="161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1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8" y="161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3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3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pt-BR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31" y="2577934"/>
            <a:ext cx="2819401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pt-BR" sz="5400" dirty="0" err="1">
                <a:solidFill>
                  <a:srgbClr val="0079C3"/>
                </a:solidFill>
                <a:sym typeface="Trebuchet MS" panose="020B0603020202020204" pitchFamily="34" charset="0"/>
              </a:rPr>
              <a:t>Table</a:t>
            </a:r>
            <a:r>
              <a:rPr lang="pt-BR" sz="5400" dirty="0">
                <a:solidFill>
                  <a:srgbClr val="0079C3"/>
                </a:solidFill>
                <a:sym typeface="Trebuchet MS" panose="020B0603020202020204" pitchFamily="34" charset="0"/>
              </a:rPr>
              <a:t> </a:t>
            </a:r>
            <a:r>
              <a:rPr lang="pt-BR" sz="5400" dirty="0" err="1">
                <a:solidFill>
                  <a:srgbClr val="0079C3"/>
                </a:solidFill>
                <a:sym typeface="Trebuchet MS" panose="020B0603020202020204" pitchFamily="34" charset="0"/>
              </a:rPr>
              <a:t>of</a:t>
            </a:r>
            <a:r>
              <a:rPr lang="pt-BR" sz="5400" dirty="0">
                <a:solidFill>
                  <a:srgbClr val="0079C3"/>
                </a:solidFill>
                <a:sym typeface="Trebuchet MS" panose="020B0603020202020204" pitchFamily="34" charset="0"/>
              </a:rPr>
              <a:t> </a:t>
            </a:r>
            <a:r>
              <a:rPr lang="pt-BR" sz="5400" dirty="0" err="1">
                <a:solidFill>
                  <a:srgbClr val="0079C3"/>
                </a:solidFill>
                <a:sym typeface="Trebuchet MS" panose="020B0603020202020204" pitchFamily="34" charset="0"/>
              </a:rPr>
              <a:t>contents</a:t>
            </a:r>
            <a:endParaRPr lang="pt-BR" sz="5400" dirty="0">
              <a:solidFill>
                <a:srgbClr val="0079C3"/>
              </a:solidFill>
              <a:sym typeface="Trebuchet MS" panose="020B060302020202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3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by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The Boston Consulting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Group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, Inc.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All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ights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 </a:t>
            </a:r>
            <a:r>
              <a:rPr lang="pt-BR" sz="700" dirty="0" err="1">
                <a:solidFill>
                  <a:prstClr val="white"/>
                </a:solidFill>
                <a:sym typeface="Trebuchet MS" panose="020B0603020202020204" pitchFamily="34" charset="0"/>
              </a:rPr>
              <a:t>reserved</a:t>
            </a:r>
            <a:r>
              <a:rPr lang="pt-BR" sz="700" dirty="0">
                <a:solidFill>
                  <a:prstClr val="white"/>
                </a:solidFill>
                <a:sym typeface="Trebuchet MS" panose="020B0603020202020204" pitchFamily="34" charset="0"/>
              </a:rPr>
              <a:t>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9" y="358677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516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BCGV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CGVote 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BCGVote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1" hasCustomPrompt="1"/>
          </p:nvPr>
        </p:nvSpPr>
        <p:spPr>
          <a:xfrm>
            <a:off x="630031" y="1828343"/>
            <a:ext cx="10933349" cy="4352498"/>
          </a:xfr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</a:lstStyle>
          <a:p>
            <a:pPr lvl="0"/>
            <a:r>
              <a:rPr lang="en-US"/>
              <a:t>Multiple choice answers listen to this text style</a:t>
            </a:r>
          </a:p>
          <a:p>
            <a:pPr lvl="1"/>
            <a:r>
              <a:rPr lang="en-US"/>
              <a:t>Open ended messages listen to this text style</a:t>
            </a:r>
          </a:p>
          <a:p>
            <a:pPr lvl="2"/>
            <a:r>
              <a:rPr lang="en-US"/>
              <a:t>Explanation texts listen to this font family</a:t>
            </a:r>
          </a:p>
        </p:txBody>
      </p:sp>
    </p:spTree>
    <p:extLst>
      <p:ext uri="{BB962C8B-B14F-4D97-AF65-F5344CB8AC3E}">
        <p14:creationId xmlns:p14="http://schemas.microsoft.com/office/powerpoint/2010/main" val="1914989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bertura Váz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076499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ítulo Slide_sem_c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30" y="2130456"/>
            <a:ext cx="10363200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pt-BR" dirty="0"/>
              <a:t>Clique para editar o título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883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515152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/>
              <a:t>Clique para editar o subtítulo</a:t>
            </a:r>
            <a:endParaRPr lang="en-US" dirty="0"/>
          </a:p>
        </p:txBody>
      </p:sp>
      <p:pic>
        <p:nvPicPr>
          <p:cNvPr id="4" name="Imagem 3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29006" y="-3899431"/>
            <a:ext cx="686884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200963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_Título Slide_sem_co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14430" y="3465034"/>
            <a:ext cx="10363200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pt-BR" dirty="0"/>
              <a:t>Clique para editar o título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91474" y="2780958"/>
            <a:ext cx="8534400" cy="564468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/>
              <a:t>Clique para editar o subtítulo</a:t>
            </a:r>
            <a:endParaRPr lang="en-US" dirty="0"/>
          </a:p>
        </p:txBody>
      </p:sp>
      <p:pic>
        <p:nvPicPr>
          <p:cNvPr id="5" name="Imagem 4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29006" y="-3899431"/>
            <a:ext cx="686884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874023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_Título Slide_sem_c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00366" y="585819"/>
            <a:ext cx="10363200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pt-BR" dirty="0"/>
              <a:t>Clique para editar o título</a:t>
            </a:r>
            <a:endParaRPr lang="en-US" dirty="0"/>
          </a:p>
        </p:txBody>
      </p:sp>
      <p:pic>
        <p:nvPicPr>
          <p:cNvPr id="5" name="Imagem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46985" y="2092844"/>
            <a:ext cx="17856789" cy="4252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3699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ente Título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m 15">
            <a:extLst>
              <a:ext uri="{FF2B5EF4-FFF2-40B4-BE49-F238E27FC236}">
                <a16:creationId xmlns:a16="http://schemas.microsoft.com/office/drawing/2014/main" id="{7D290882-270B-6E4E-2587-0ABB2E977B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1120" y="4975761"/>
            <a:ext cx="2669760" cy="1056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185379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07653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30" y="1452451"/>
            <a:ext cx="10363200" cy="4627563"/>
          </a:xfrm>
        </p:spPr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1200"/>
              </a:spcBef>
              <a:defRPr/>
            </a:lvl2pPr>
            <a:lvl3pPr>
              <a:spcBef>
                <a:spcPts val="1200"/>
              </a:spcBef>
              <a:defRPr/>
            </a:lvl3pPr>
            <a:lvl4pPr>
              <a:spcBef>
                <a:spcPts val="1200"/>
              </a:spcBef>
              <a:defRPr/>
            </a:lvl4pPr>
            <a:lvl5pPr>
              <a:spcBef>
                <a:spcPts val="12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30" y="933451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86311848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514253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30" y="1452451"/>
            <a:ext cx="10363200" cy="4627563"/>
          </a:xfrm>
        </p:spPr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1200"/>
              </a:spcBef>
              <a:defRPr/>
            </a:lvl2pPr>
            <a:lvl3pPr>
              <a:spcBef>
                <a:spcPts val="1200"/>
              </a:spcBef>
              <a:defRPr/>
            </a:lvl3pPr>
            <a:lvl4pPr>
              <a:spcBef>
                <a:spcPts val="1200"/>
              </a:spcBef>
              <a:defRPr/>
            </a:lvl4pPr>
            <a:lvl5pPr>
              <a:spcBef>
                <a:spcPts val="12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30" y="933451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77642083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0"/>
          </p:nvPr>
        </p:nvSpPr>
        <p:spPr>
          <a:xfrm>
            <a:off x="2281990" y="1928693"/>
            <a:ext cx="1395664" cy="1395664"/>
          </a:xfrm>
          <a:custGeom>
            <a:avLst/>
            <a:gdLst>
              <a:gd name="connsiteX0" fmla="*/ 697832 w 1395664"/>
              <a:gd name="connsiteY0" fmla="*/ 0 h 1395664"/>
              <a:gd name="connsiteX1" fmla="*/ 1395664 w 1395664"/>
              <a:gd name="connsiteY1" fmla="*/ 697832 h 1395664"/>
              <a:gd name="connsiteX2" fmla="*/ 697832 w 1395664"/>
              <a:gd name="connsiteY2" fmla="*/ 1395664 h 1395664"/>
              <a:gd name="connsiteX3" fmla="*/ 0 w 1395664"/>
              <a:gd name="connsiteY3" fmla="*/ 697832 h 1395664"/>
              <a:gd name="connsiteX4" fmla="*/ 697832 w 1395664"/>
              <a:gd name="connsiteY4" fmla="*/ 0 h 1395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5664" h="1395664">
                <a:moveTo>
                  <a:pt x="697832" y="0"/>
                </a:moveTo>
                <a:cubicBezTo>
                  <a:pt x="1083234" y="0"/>
                  <a:pt x="1395664" y="312430"/>
                  <a:pt x="1395664" y="697832"/>
                </a:cubicBezTo>
                <a:cubicBezTo>
                  <a:pt x="1395664" y="1083234"/>
                  <a:pt x="1083234" y="1395664"/>
                  <a:pt x="697832" y="1395664"/>
                </a:cubicBezTo>
                <a:cubicBezTo>
                  <a:pt x="312430" y="1395664"/>
                  <a:pt x="0" y="1083234"/>
                  <a:pt x="0" y="697832"/>
                </a:cubicBezTo>
                <a:cubicBezTo>
                  <a:pt x="0" y="312430"/>
                  <a:pt x="312430" y="0"/>
                  <a:pt x="69783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5398170" y="4463345"/>
            <a:ext cx="1395664" cy="1395664"/>
          </a:xfrm>
          <a:custGeom>
            <a:avLst/>
            <a:gdLst>
              <a:gd name="connsiteX0" fmla="*/ 697832 w 1395664"/>
              <a:gd name="connsiteY0" fmla="*/ 0 h 1395664"/>
              <a:gd name="connsiteX1" fmla="*/ 1395664 w 1395664"/>
              <a:gd name="connsiteY1" fmla="*/ 697832 h 1395664"/>
              <a:gd name="connsiteX2" fmla="*/ 697832 w 1395664"/>
              <a:gd name="connsiteY2" fmla="*/ 1395664 h 1395664"/>
              <a:gd name="connsiteX3" fmla="*/ 0 w 1395664"/>
              <a:gd name="connsiteY3" fmla="*/ 697832 h 1395664"/>
              <a:gd name="connsiteX4" fmla="*/ 697832 w 1395664"/>
              <a:gd name="connsiteY4" fmla="*/ 0 h 1395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5664" h="1395664">
                <a:moveTo>
                  <a:pt x="697832" y="0"/>
                </a:moveTo>
                <a:cubicBezTo>
                  <a:pt x="1083234" y="0"/>
                  <a:pt x="1395664" y="312430"/>
                  <a:pt x="1395664" y="697832"/>
                </a:cubicBezTo>
                <a:cubicBezTo>
                  <a:pt x="1395664" y="1083234"/>
                  <a:pt x="1083234" y="1395664"/>
                  <a:pt x="697832" y="1395664"/>
                </a:cubicBezTo>
                <a:cubicBezTo>
                  <a:pt x="312430" y="1395664"/>
                  <a:pt x="0" y="1083234"/>
                  <a:pt x="0" y="697832"/>
                </a:cubicBezTo>
                <a:cubicBezTo>
                  <a:pt x="0" y="312430"/>
                  <a:pt x="312430" y="0"/>
                  <a:pt x="69783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8514348" y="1928693"/>
            <a:ext cx="1395664" cy="1395664"/>
          </a:xfrm>
          <a:custGeom>
            <a:avLst/>
            <a:gdLst>
              <a:gd name="connsiteX0" fmla="*/ 697832 w 1395664"/>
              <a:gd name="connsiteY0" fmla="*/ 0 h 1395664"/>
              <a:gd name="connsiteX1" fmla="*/ 1395664 w 1395664"/>
              <a:gd name="connsiteY1" fmla="*/ 697832 h 1395664"/>
              <a:gd name="connsiteX2" fmla="*/ 697832 w 1395664"/>
              <a:gd name="connsiteY2" fmla="*/ 1395664 h 1395664"/>
              <a:gd name="connsiteX3" fmla="*/ 0 w 1395664"/>
              <a:gd name="connsiteY3" fmla="*/ 697832 h 1395664"/>
              <a:gd name="connsiteX4" fmla="*/ 697832 w 1395664"/>
              <a:gd name="connsiteY4" fmla="*/ 0 h 1395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5664" h="1395664">
                <a:moveTo>
                  <a:pt x="697832" y="0"/>
                </a:moveTo>
                <a:cubicBezTo>
                  <a:pt x="1083234" y="0"/>
                  <a:pt x="1395664" y="312430"/>
                  <a:pt x="1395664" y="697832"/>
                </a:cubicBezTo>
                <a:cubicBezTo>
                  <a:pt x="1395664" y="1083234"/>
                  <a:pt x="1083234" y="1395664"/>
                  <a:pt x="697832" y="1395664"/>
                </a:cubicBezTo>
                <a:cubicBezTo>
                  <a:pt x="312430" y="1395664"/>
                  <a:pt x="0" y="1083234"/>
                  <a:pt x="0" y="697832"/>
                </a:cubicBezTo>
                <a:cubicBezTo>
                  <a:pt x="0" y="312430"/>
                  <a:pt x="312430" y="0"/>
                  <a:pt x="69783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16494"/>
      </p:ext>
    </p:extLst>
  </p:cSld>
  <p:clrMapOvr>
    <a:masterClrMapping/>
  </p:clrMapOvr>
  <p:transition spd="slow">
    <p:wip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136452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11" y="1452431"/>
            <a:ext cx="10363200" cy="4627563"/>
          </a:xfrm>
        </p:spPr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1200"/>
              </a:spcBef>
              <a:defRPr/>
            </a:lvl2pPr>
            <a:lvl3pPr>
              <a:spcBef>
                <a:spcPts val="1200"/>
              </a:spcBef>
              <a:defRPr/>
            </a:lvl3pPr>
            <a:lvl4pPr>
              <a:spcBef>
                <a:spcPts val="1200"/>
              </a:spcBef>
              <a:defRPr/>
            </a:lvl4pPr>
            <a:lvl5pPr>
              <a:spcBef>
                <a:spcPts val="12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11" y="933451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1496466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z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36043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9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30.xml"/><Relationship Id="rId42" Type="http://schemas.openxmlformats.org/officeDocument/2006/relationships/slideLayout" Target="../slideLayouts/slideLayout51.xml"/><Relationship Id="rId47" Type="http://schemas.openxmlformats.org/officeDocument/2006/relationships/slideLayout" Target="../slideLayouts/slideLayout56.xml"/><Relationship Id="rId63" Type="http://schemas.openxmlformats.org/officeDocument/2006/relationships/slideLayout" Target="../slideLayouts/slideLayout72.xml"/><Relationship Id="rId68" Type="http://schemas.openxmlformats.org/officeDocument/2006/relationships/vmlDrawing" Target="../drawings/vmlDrawing1.vml"/><Relationship Id="rId7" Type="http://schemas.openxmlformats.org/officeDocument/2006/relationships/slideLayout" Target="../slideLayouts/slideLayout16.xml"/><Relationship Id="rId71" Type="http://schemas.openxmlformats.org/officeDocument/2006/relationships/image" Target="../media/image5.emf"/><Relationship Id="rId2" Type="http://schemas.openxmlformats.org/officeDocument/2006/relationships/slideLayout" Target="../slideLayouts/slideLayout11.xml"/><Relationship Id="rId16" Type="http://schemas.openxmlformats.org/officeDocument/2006/relationships/slideLayout" Target="../slideLayouts/slideLayout25.xml"/><Relationship Id="rId29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20.xml"/><Relationship Id="rId24" Type="http://schemas.openxmlformats.org/officeDocument/2006/relationships/slideLayout" Target="../slideLayouts/slideLayout33.xml"/><Relationship Id="rId32" Type="http://schemas.openxmlformats.org/officeDocument/2006/relationships/slideLayout" Target="../slideLayouts/slideLayout41.xml"/><Relationship Id="rId37" Type="http://schemas.openxmlformats.org/officeDocument/2006/relationships/slideLayout" Target="../slideLayouts/slideLayout46.xml"/><Relationship Id="rId40" Type="http://schemas.openxmlformats.org/officeDocument/2006/relationships/slideLayout" Target="../slideLayouts/slideLayout49.xml"/><Relationship Id="rId45" Type="http://schemas.openxmlformats.org/officeDocument/2006/relationships/slideLayout" Target="../slideLayouts/slideLayout54.xml"/><Relationship Id="rId53" Type="http://schemas.openxmlformats.org/officeDocument/2006/relationships/slideLayout" Target="../slideLayouts/slideLayout62.xml"/><Relationship Id="rId58" Type="http://schemas.openxmlformats.org/officeDocument/2006/relationships/slideLayout" Target="../slideLayouts/slideLayout67.xml"/><Relationship Id="rId66" Type="http://schemas.openxmlformats.org/officeDocument/2006/relationships/slideLayout" Target="../slideLayouts/slideLayout75.xml"/><Relationship Id="rId5" Type="http://schemas.openxmlformats.org/officeDocument/2006/relationships/slideLayout" Target="../slideLayouts/slideLayout14.xml"/><Relationship Id="rId61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31.xml"/><Relationship Id="rId27" Type="http://schemas.openxmlformats.org/officeDocument/2006/relationships/slideLayout" Target="../slideLayouts/slideLayout36.xml"/><Relationship Id="rId30" Type="http://schemas.openxmlformats.org/officeDocument/2006/relationships/slideLayout" Target="../slideLayouts/slideLayout39.xml"/><Relationship Id="rId35" Type="http://schemas.openxmlformats.org/officeDocument/2006/relationships/slideLayout" Target="../slideLayouts/slideLayout44.xml"/><Relationship Id="rId43" Type="http://schemas.openxmlformats.org/officeDocument/2006/relationships/slideLayout" Target="../slideLayouts/slideLayout52.xml"/><Relationship Id="rId48" Type="http://schemas.openxmlformats.org/officeDocument/2006/relationships/slideLayout" Target="../slideLayouts/slideLayout57.xml"/><Relationship Id="rId56" Type="http://schemas.openxmlformats.org/officeDocument/2006/relationships/slideLayout" Target="../slideLayouts/slideLayout65.xml"/><Relationship Id="rId64" Type="http://schemas.openxmlformats.org/officeDocument/2006/relationships/slideLayout" Target="../slideLayouts/slideLayout73.xml"/><Relationship Id="rId69" Type="http://schemas.openxmlformats.org/officeDocument/2006/relationships/tags" Target="../tags/tag2.xml"/><Relationship Id="rId8" Type="http://schemas.openxmlformats.org/officeDocument/2006/relationships/slideLayout" Target="../slideLayouts/slideLayout17.xml"/><Relationship Id="rId51" Type="http://schemas.openxmlformats.org/officeDocument/2006/relationships/slideLayout" Target="../slideLayouts/slideLayout60.xml"/><Relationship Id="rId3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21.xml"/><Relationship Id="rId17" Type="http://schemas.openxmlformats.org/officeDocument/2006/relationships/slideLayout" Target="../slideLayouts/slideLayout26.xml"/><Relationship Id="rId25" Type="http://schemas.openxmlformats.org/officeDocument/2006/relationships/slideLayout" Target="../slideLayouts/slideLayout34.xml"/><Relationship Id="rId33" Type="http://schemas.openxmlformats.org/officeDocument/2006/relationships/slideLayout" Target="../slideLayouts/slideLayout42.xml"/><Relationship Id="rId38" Type="http://schemas.openxmlformats.org/officeDocument/2006/relationships/slideLayout" Target="../slideLayouts/slideLayout47.xml"/><Relationship Id="rId46" Type="http://schemas.openxmlformats.org/officeDocument/2006/relationships/slideLayout" Target="../slideLayouts/slideLayout55.xml"/><Relationship Id="rId59" Type="http://schemas.openxmlformats.org/officeDocument/2006/relationships/slideLayout" Target="../slideLayouts/slideLayout68.xml"/><Relationship Id="rId67" Type="http://schemas.openxmlformats.org/officeDocument/2006/relationships/theme" Target="../theme/theme3.xml"/><Relationship Id="rId20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50.xml"/><Relationship Id="rId54" Type="http://schemas.openxmlformats.org/officeDocument/2006/relationships/slideLayout" Target="../slideLayouts/slideLayout63.xml"/><Relationship Id="rId62" Type="http://schemas.openxmlformats.org/officeDocument/2006/relationships/slideLayout" Target="../slideLayouts/slideLayout71.xml"/><Relationship Id="rId70" Type="http://schemas.openxmlformats.org/officeDocument/2006/relationships/oleObject" Target="../embeddings/oleObject1.bin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4.xml"/><Relationship Id="rId23" Type="http://schemas.openxmlformats.org/officeDocument/2006/relationships/slideLayout" Target="../slideLayouts/slideLayout32.xml"/><Relationship Id="rId28" Type="http://schemas.openxmlformats.org/officeDocument/2006/relationships/slideLayout" Target="../slideLayouts/slideLayout37.xml"/><Relationship Id="rId36" Type="http://schemas.openxmlformats.org/officeDocument/2006/relationships/slideLayout" Target="../slideLayouts/slideLayout45.xml"/><Relationship Id="rId49" Type="http://schemas.openxmlformats.org/officeDocument/2006/relationships/slideLayout" Target="../slideLayouts/slideLayout58.xml"/><Relationship Id="rId57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40.xml"/><Relationship Id="rId44" Type="http://schemas.openxmlformats.org/officeDocument/2006/relationships/slideLayout" Target="../slideLayouts/slideLayout53.xml"/><Relationship Id="rId52" Type="http://schemas.openxmlformats.org/officeDocument/2006/relationships/slideLayout" Target="../slideLayouts/slideLayout61.xml"/><Relationship Id="rId60" Type="http://schemas.openxmlformats.org/officeDocument/2006/relationships/slideLayout" Target="../slideLayouts/slideLayout69.xml"/><Relationship Id="rId65" Type="http://schemas.openxmlformats.org/officeDocument/2006/relationships/slideLayout" Target="../slideLayouts/slideLayout74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2.xml"/><Relationship Id="rId18" Type="http://schemas.openxmlformats.org/officeDocument/2006/relationships/slideLayout" Target="../slideLayouts/slideLayout27.xml"/><Relationship Id="rId39" Type="http://schemas.openxmlformats.org/officeDocument/2006/relationships/slideLayout" Target="../slideLayouts/slideLayout48.xml"/><Relationship Id="rId34" Type="http://schemas.openxmlformats.org/officeDocument/2006/relationships/slideLayout" Target="../slideLayouts/slideLayout43.xml"/><Relationship Id="rId50" Type="http://schemas.openxmlformats.org/officeDocument/2006/relationships/slideLayout" Target="../slideLayouts/slideLayout59.xml"/><Relationship Id="rId55" Type="http://schemas.openxmlformats.org/officeDocument/2006/relationships/slideLayout" Target="../slideLayouts/slideLayout6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8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image" Target="../media/image21.png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79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4.x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ACA07B-98F6-4EAF-8474-98F419AA9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115" y="365125"/>
            <a:ext cx="1101778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dirty="0"/>
              <a:t>Click para editar o título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03819C-9096-4B5C-82EA-C83B2E2C4C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3115" y="1825625"/>
            <a:ext cx="11017781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 txBox="1">
            <a:spLocks/>
          </p:cNvSpPr>
          <p:nvPr/>
        </p:nvSpPr>
        <p:spPr>
          <a:xfrm>
            <a:off x="814963" y="6431852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>
                <a:solidFill>
                  <a:schemeClr val="bg1">
                    <a:lumMod val="50000"/>
                  </a:schemeClr>
                </a:solidFill>
              </a:rPr>
              <a:pPr algn="ctr"/>
              <a:t>‹nº›</a:t>
            </a:fld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Oval 9"/>
          <p:cNvSpPr/>
          <p:nvPr/>
        </p:nvSpPr>
        <p:spPr>
          <a:xfrm>
            <a:off x="718075" y="6429407"/>
            <a:ext cx="333200" cy="333200"/>
          </a:xfrm>
          <a:prstGeom prst="ellipse">
            <a:avLst/>
          </a:pr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6" name="Oval 15"/>
          <p:cNvSpPr/>
          <p:nvPr/>
        </p:nvSpPr>
        <p:spPr>
          <a:xfrm>
            <a:off x="281861" y="6429407"/>
            <a:ext cx="333200" cy="333200"/>
          </a:xfrm>
          <a:prstGeom prst="ellipse">
            <a:avLst/>
          </a:pr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7" name="Rectangle 9"/>
          <p:cNvSpPr/>
          <p:nvPr/>
        </p:nvSpPr>
        <p:spPr>
          <a:xfrm rot="2700000">
            <a:off x="426721" y="6550951"/>
            <a:ext cx="90117" cy="90117"/>
          </a:xfrm>
          <a:custGeom>
            <a:avLst/>
            <a:gdLst>
              <a:gd name="connsiteX0" fmla="*/ 0 w 531091"/>
              <a:gd name="connsiteY0" fmla="*/ 0 h 531091"/>
              <a:gd name="connsiteX1" fmla="*/ 531091 w 531091"/>
              <a:gd name="connsiteY1" fmla="*/ 0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0 w 531091"/>
              <a:gd name="connsiteY0" fmla="*/ 0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0" fmla="*/ 0 w 531091"/>
              <a:gd name="connsiteY0" fmla="*/ 0 h 531091"/>
              <a:gd name="connsiteX1" fmla="*/ 230909 w 531091"/>
              <a:gd name="connsiteY1" fmla="*/ 224312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230909 w 531091"/>
              <a:gd name="connsiteY0" fmla="*/ 224312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343065 w 531091"/>
              <a:gd name="connsiteY0" fmla="*/ 89066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  <a:gd name="connsiteX3" fmla="*/ 322349 w 531091"/>
              <a:gd name="connsiteY3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1091" h="531091">
                <a:moveTo>
                  <a:pt x="531091" y="531091"/>
                </a:moveTo>
                <a:lnTo>
                  <a:pt x="0" y="531091"/>
                </a:lnTo>
                <a:lnTo>
                  <a:pt x="0" y="0"/>
                </a:lnTo>
              </a:path>
            </a:pathLst>
          </a:cu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8" name="Oval 13"/>
          <p:cNvSpPr/>
          <p:nvPr/>
        </p:nvSpPr>
        <p:spPr>
          <a:xfrm rot="10800000">
            <a:off x="1154289" y="6429407"/>
            <a:ext cx="333200" cy="333200"/>
          </a:xfrm>
          <a:prstGeom prst="ellipse">
            <a:avLst/>
          </a:pr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9" name="Rectangle 9"/>
          <p:cNvSpPr/>
          <p:nvPr/>
        </p:nvSpPr>
        <p:spPr>
          <a:xfrm rot="13500000">
            <a:off x="1252513" y="6550951"/>
            <a:ext cx="90117" cy="90117"/>
          </a:xfrm>
          <a:custGeom>
            <a:avLst/>
            <a:gdLst>
              <a:gd name="connsiteX0" fmla="*/ 0 w 531091"/>
              <a:gd name="connsiteY0" fmla="*/ 0 h 531091"/>
              <a:gd name="connsiteX1" fmla="*/ 531091 w 531091"/>
              <a:gd name="connsiteY1" fmla="*/ 0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0 w 531091"/>
              <a:gd name="connsiteY0" fmla="*/ 0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0" fmla="*/ 0 w 531091"/>
              <a:gd name="connsiteY0" fmla="*/ 0 h 531091"/>
              <a:gd name="connsiteX1" fmla="*/ 230909 w 531091"/>
              <a:gd name="connsiteY1" fmla="*/ 224312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230909 w 531091"/>
              <a:gd name="connsiteY0" fmla="*/ 224312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343065 w 531091"/>
              <a:gd name="connsiteY0" fmla="*/ 89066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  <a:gd name="connsiteX3" fmla="*/ 322349 w 531091"/>
              <a:gd name="connsiteY3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1091" h="531091">
                <a:moveTo>
                  <a:pt x="531091" y="531091"/>
                </a:moveTo>
                <a:lnTo>
                  <a:pt x="0" y="531091"/>
                </a:lnTo>
                <a:lnTo>
                  <a:pt x="0" y="0"/>
                </a:lnTo>
              </a:path>
            </a:pathLst>
          </a:cu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10" name="Action Button: Forward or Next 26">
            <a:hlinkClick r:id="" action="ppaction://hlinkshowjump?jump=nextslide" highlightClick="1"/>
          </p:cNvPr>
          <p:cNvSpPr/>
          <p:nvPr/>
        </p:nvSpPr>
        <p:spPr>
          <a:xfrm>
            <a:off x="1127078" y="6397859"/>
            <a:ext cx="402336" cy="402336"/>
          </a:xfrm>
          <a:prstGeom prst="actionButtonForwardNext">
            <a:avLst/>
          </a:prstGeom>
          <a:solidFill>
            <a:srgbClr val="00CAC5">
              <a:alpha val="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11" name="Action Button: Back or Previous 27">
            <a:hlinkClick r:id="" action="ppaction://hlinkshowjump?jump=previousslide" highlightClick="1"/>
          </p:cNvPr>
          <p:cNvSpPr/>
          <p:nvPr/>
        </p:nvSpPr>
        <p:spPr>
          <a:xfrm>
            <a:off x="249959" y="6390085"/>
            <a:ext cx="402336" cy="402336"/>
          </a:xfrm>
          <a:prstGeom prst="actionButtonBackPrevious">
            <a:avLst/>
          </a:prstGeom>
          <a:solidFill>
            <a:srgbClr val="00CAC5">
              <a:alpha val="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>
          <a:xfrm>
            <a:off x="1494112" y="6461238"/>
            <a:ext cx="6355864" cy="307777"/>
          </a:xfrm>
          <a:prstGeom prst="rect">
            <a:avLst/>
          </a:prstGeom>
        </p:spPr>
        <p:txBody>
          <a:bodyPr vert="horz" wrap="square" lIns="121920" tIns="60960" rIns="121920" bIns="6096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t-BR" dirty="0">
                <a:solidFill>
                  <a:srgbClr val="57565A">
                    <a:tint val="75000"/>
                  </a:srgbClr>
                </a:solidFill>
              </a:rPr>
              <a:t> ELETROBRAS - Plano de Negócios e Gestão - PNG 2021-2025 </a:t>
            </a:r>
            <a:endParaRPr lang="en-US" dirty="0">
              <a:solidFill>
                <a:srgbClr val="57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2991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8" r:id="rId1"/>
    <p:sldLayoutId id="2147483949" r:id="rId2"/>
    <p:sldLayoutId id="2147483950" r:id="rId3"/>
    <p:sldLayoutId id="2147483948" r:id="rId4"/>
    <p:sldLayoutId id="2147484205" r:id="rId5"/>
    <p:sldLayoutId id="2147484206" r:id="rId6"/>
    <p:sldLayoutId id="2147484210" r:id="rId7"/>
    <p:sldLayoutId id="2147484211" r:id="rId8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ACA07B-98F6-4EAF-8474-98F419AA9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3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dirty="0"/>
              <a:t>Click para editar o título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03819C-9096-4B5C-82EA-C83B2E2C4C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3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C3E54D-AE8B-4BC3-816B-D760FEA6B2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29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77D99D-339D-4FEB-A56E-4FE169FC86DC}" type="datetimeFigureOut">
              <a:rPr lang="en-US" smtClean="0"/>
              <a:pPr/>
              <a:t>5/1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63E3A5-4AC4-4DE2-9768-3B864D315A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2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E6FD71-ED69-4F0E-88A3-B1C401B31F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426BC6-6DB6-42AB-A288-9C40D6DB0426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7272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3235033630"/>
              </p:ext>
            </p:extLst>
          </p:nvPr>
        </p:nvGraphicFramePr>
        <p:xfrm>
          <a:off x="1618" y="161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" name="Slide do think-cell" r:id="rId70" imgW="360" imgH="360" progId="TCLayout.ActiveDocument.1">
                  <p:embed/>
                </p:oleObj>
              </mc:Choice>
              <mc:Fallback>
                <p:oleObj name="Slide do think-cell" r:id="rId70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8" y="161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31" y="6220478"/>
            <a:ext cx="1482052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pt-BR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167873" y="6220478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pt-BR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nº›</a:t>
            </a:fld>
            <a:endParaRPr lang="pt-BR" sz="10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31" y="622831"/>
            <a:ext cx="10933349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31" y="1825625"/>
            <a:ext cx="10933349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5"/>
            <a:r>
              <a:rPr lang="pt-BR" dirty="0" err="1"/>
              <a:t>Level</a:t>
            </a:r>
            <a:r>
              <a:rPr lang="pt-BR" dirty="0"/>
              <a:t> </a:t>
            </a:r>
            <a:r>
              <a:rPr lang="pt-BR" dirty="0" err="1"/>
              <a:t>six</a:t>
            </a:r>
            <a:endParaRPr lang="pt-BR" dirty="0"/>
          </a:p>
          <a:p>
            <a:pPr lvl="6"/>
            <a:r>
              <a:rPr lang="pt-BR" dirty="0" err="1"/>
              <a:t>Level</a:t>
            </a:r>
            <a:r>
              <a:rPr lang="pt-BR" dirty="0"/>
              <a:t> </a:t>
            </a:r>
            <a:r>
              <a:rPr lang="pt-BR" dirty="0" err="1"/>
              <a:t>seven</a:t>
            </a:r>
            <a:endParaRPr lang="pt-BR" dirty="0"/>
          </a:p>
          <a:p>
            <a:pPr lvl="7"/>
            <a:r>
              <a:rPr lang="pt-BR" dirty="0" err="1"/>
              <a:t>Level</a:t>
            </a:r>
            <a:r>
              <a:rPr lang="pt-BR" dirty="0"/>
              <a:t> </a:t>
            </a:r>
            <a:r>
              <a:rPr lang="pt-BR" dirty="0" err="1"/>
              <a:t>eight</a:t>
            </a:r>
            <a:endParaRPr lang="pt-BR" dirty="0"/>
          </a:p>
          <a:p>
            <a:pPr lvl="8"/>
            <a:r>
              <a:rPr lang="pt-BR" dirty="0" err="1"/>
              <a:t>Level</a:t>
            </a:r>
            <a:r>
              <a:rPr lang="pt-BR" dirty="0"/>
              <a:t> nine</a:t>
            </a:r>
          </a:p>
        </p:txBody>
      </p:sp>
    </p:spTree>
    <p:extLst>
      <p:ext uri="{BB962C8B-B14F-4D97-AF65-F5344CB8AC3E}">
        <p14:creationId xmlns:p14="http://schemas.microsoft.com/office/powerpoint/2010/main" val="580695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2" r:id="rId1"/>
    <p:sldLayoutId id="2147483953" r:id="rId2"/>
    <p:sldLayoutId id="2147483954" r:id="rId3"/>
    <p:sldLayoutId id="2147483955" r:id="rId4"/>
    <p:sldLayoutId id="2147483956" r:id="rId5"/>
    <p:sldLayoutId id="2147483957" r:id="rId6"/>
    <p:sldLayoutId id="2147483958" r:id="rId7"/>
    <p:sldLayoutId id="2147483959" r:id="rId8"/>
    <p:sldLayoutId id="2147483960" r:id="rId9"/>
    <p:sldLayoutId id="2147483961" r:id="rId10"/>
    <p:sldLayoutId id="2147483962" r:id="rId11"/>
    <p:sldLayoutId id="2147483963" r:id="rId12"/>
    <p:sldLayoutId id="2147483964" r:id="rId13"/>
    <p:sldLayoutId id="2147483965" r:id="rId14"/>
    <p:sldLayoutId id="2147483966" r:id="rId15"/>
    <p:sldLayoutId id="2147483967" r:id="rId16"/>
    <p:sldLayoutId id="2147483968" r:id="rId17"/>
    <p:sldLayoutId id="2147483969" r:id="rId18"/>
    <p:sldLayoutId id="2147483970" r:id="rId19"/>
    <p:sldLayoutId id="2147483971" r:id="rId20"/>
    <p:sldLayoutId id="2147483972" r:id="rId21"/>
    <p:sldLayoutId id="2147483973" r:id="rId22"/>
    <p:sldLayoutId id="2147483974" r:id="rId23"/>
    <p:sldLayoutId id="2147483975" r:id="rId24"/>
    <p:sldLayoutId id="2147483976" r:id="rId25"/>
    <p:sldLayoutId id="2147483977" r:id="rId26"/>
    <p:sldLayoutId id="2147483978" r:id="rId27"/>
    <p:sldLayoutId id="2147483979" r:id="rId28"/>
    <p:sldLayoutId id="2147483980" r:id="rId29"/>
    <p:sldLayoutId id="2147483981" r:id="rId30"/>
    <p:sldLayoutId id="2147483982" r:id="rId31"/>
    <p:sldLayoutId id="2147483983" r:id="rId32"/>
    <p:sldLayoutId id="2147483984" r:id="rId33"/>
    <p:sldLayoutId id="2147483985" r:id="rId34"/>
    <p:sldLayoutId id="2147483986" r:id="rId35"/>
    <p:sldLayoutId id="2147483987" r:id="rId36"/>
    <p:sldLayoutId id="2147483988" r:id="rId37"/>
    <p:sldLayoutId id="2147483989" r:id="rId38"/>
    <p:sldLayoutId id="2147483990" r:id="rId39"/>
    <p:sldLayoutId id="2147483991" r:id="rId40"/>
    <p:sldLayoutId id="2147483992" r:id="rId41"/>
    <p:sldLayoutId id="2147483993" r:id="rId42"/>
    <p:sldLayoutId id="2147483994" r:id="rId43"/>
    <p:sldLayoutId id="2147483995" r:id="rId44"/>
    <p:sldLayoutId id="2147483996" r:id="rId45"/>
    <p:sldLayoutId id="2147483997" r:id="rId46"/>
    <p:sldLayoutId id="2147483998" r:id="rId47"/>
    <p:sldLayoutId id="2147483999" r:id="rId48"/>
    <p:sldLayoutId id="2147484000" r:id="rId49"/>
    <p:sldLayoutId id="2147484001" r:id="rId50"/>
    <p:sldLayoutId id="2147484002" r:id="rId51"/>
    <p:sldLayoutId id="2147484003" r:id="rId52"/>
    <p:sldLayoutId id="2147484004" r:id="rId53"/>
    <p:sldLayoutId id="2147484005" r:id="rId54"/>
    <p:sldLayoutId id="2147484006" r:id="rId55"/>
    <p:sldLayoutId id="2147484007" r:id="rId56"/>
    <p:sldLayoutId id="2147484008" r:id="rId57"/>
    <p:sldLayoutId id="2147484009" r:id="rId58"/>
    <p:sldLayoutId id="2147484010" r:id="rId59"/>
    <p:sldLayoutId id="2147484011" r:id="rId60"/>
    <p:sldLayoutId id="2147484012" r:id="rId61"/>
    <p:sldLayoutId id="2147484013" r:id="rId62"/>
    <p:sldLayoutId id="2147484014" r:id="rId63"/>
    <p:sldLayoutId id="2147484015" r:id="rId64"/>
    <p:sldLayoutId id="2147484016" r:id="rId65"/>
    <p:sldLayoutId id="2147484017" r:id="rId6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0079C3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rgbClr val="0079C3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430" y="279961"/>
            <a:ext cx="10363200" cy="81756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pt-BR" noProof="0" dirty="0"/>
              <a:t>Clique para editar o título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30" y="1219231"/>
            <a:ext cx="10363200" cy="46275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pt-BR" noProof="0" dirty="0"/>
              <a:t>Clique para editar o texto </a:t>
            </a:r>
          </a:p>
          <a:p>
            <a:pPr lvl="1"/>
            <a:r>
              <a:rPr lang="pt-BR" noProof="0" dirty="0"/>
              <a:t>Segundo nível</a:t>
            </a:r>
          </a:p>
          <a:p>
            <a:pPr lvl="2"/>
            <a:r>
              <a:rPr lang="pt-BR" noProof="0" dirty="0"/>
              <a:t>Terceiro nível</a:t>
            </a:r>
          </a:p>
          <a:p>
            <a:pPr lvl="3"/>
            <a:r>
              <a:rPr lang="pt-BR" noProof="0" dirty="0"/>
              <a:t>Quarto nível</a:t>
            </a:r>
          </a:p>
          <a:p>
            <a:pPr lvl="4"/>
            <a:r>
              <a:rPr lang="pt-BR" noProof="0" dirty="0"/>
              <a:t>Quinto ní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14964" y="6431881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algn="ctr"/>
              <a:t>‹nº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718076" y="6429437"/>
            <a:ext cx="333200" cy="333200"/>
          </a:xfrm>
          <a:prstGeom prst="ellipse">
            <a:avLst/>
          </a:pr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281862" y="6429437"/>
            <a:ext cx="333200" cy="333200"/>
          </a:xfrm>
          <a:prstGeom prst="ellipse">
            <a:avLst/>
          </a:pr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17" name="Rectangle 9"/>
          <p:cNvSpPr/>
          <p:nvPr/>
        </p:nvSpPr>
        <p:spPr>
          <a:xfrm rot="2700000">
            <a:off x="426751" y="6550980"/>
            <a:ext cx="90117" cy="90117"/>
          </a:xfrm>
          <a:custGeom>
            <a:avLst/>
            <a:gdLst>
              <a:gd name="connsiteX0" fmla="*/ 0 w 531091"/>
              <a:gd name="connsiteY0" fmla="*/ 0 h 531091"/>
              <a:gd name="connsiteX1" fmla="*/ 531091 w 531091"/>
              <a:gd name="connsiteY1" fmla="*/ 0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0 w 531091"/>
              <a:gd name="connsiteY0" fmla="*/ 0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0" fmla="*/ 0 w 531091"/>
              <a:gd name="connsiteY0" fmla="*/ 0 h 531091"/>
              <a:gd name="connsiteX1" fmla="*/ 230909 w 531091"/>
              <a:gd name="connsiteY1" fmla="*/ 224312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230909 w 531091"/>
              <a:gd name="connsiteY0" fmla="*/ 224312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343065 w 531091"/>
              <a:gd name="connsiteY0" fmla="*/ 89066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  <a:gd name="connsiteX3" fmla="*/ 322349 w 531091"/>
              <a:gd name="connsiteY3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1091" h="531091">
                <a:moveTo>
                  <a:pt x="531091" y="531091"/>
                </a:moveTo>
                <a:lnTo>
                  <a:pt x="0" y="531091"/>
                </a:lnTo>
                <a:lnTo>
                  <a:pt x="0" y="0"/>
                </a:lnTo>
              </a:path>
            </a:pathLst>
          </a:cu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 rot="10800000">
            <a:off x="1154319" y="6429437"/>
            <a:ext cx="333200" cy="333200"/>
          </a:xfrm>
          <a:prstGeom prst="ellipse">
            <a:avLst/>
          </a:pr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15" name="Rectangle 9"/>
          <p:cNvSpPr/>
          <p:nvPr/>
        </p:nvSpPr>
        <p:spPr>
          <a:xfrm rot="13500000">
            <a:off x="1252513" y="6550980"/>
            <a:ext cx="90117" cy="90117"/>
          </a:xfrm>
          <a:custGeom>
            <a:avLst/>
            <a:gdLst>
              <a:gd name="connsiteX0" fmla="*/ 0 w 531091"/>
              <a:gd name="connsiteY0" fmla="*/ 0 h 531091"/>
              <a:gd name="connsiteX1" fmla="*/ 531091 w 531091"/>
              <a:gd name="connsiteY1" fmla="*/ 0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0 w 531091"/>
              <a:gd name="connsiteY0" fmla="*/ 0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0" fmla="*/ 0 w 531091"/>
              <a:gd name="connsiteY0" fmla="*/ 0 h 531091"/>
              <a:gd name="connsiteX1" fmla="*/ 230909 w 531091"/>
              <a:gd name="connsiteY1" fmla="*/ 224312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230909 w 531091"/>
              <a:gd name="connsiteY0" fmla="*/ 224312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343065 w 531091"/>
              <a:gd name="connsiteY0" fmla="*/ 89066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  <a:gd name="connsiteX3" fmla="*/ 322349 w 531091"/>
              <a:gd name="connsiteY3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1091" h="531091">
                <a:moveTo>
                  <a:pt x="531091" y="531091"/>
                </a:moveTo>
                <a:lnTo>
                  <a:pt x="0" y="531091"/>
                </a:lnTo>
                <a:lnTo>
                  <a:pt x="0" y="0"/>
                </a:lnTo>
              </a:path>
            </a:pathLst>
          </a:cu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27" name="Action Button: Forward or Next 26">
            <a:hlinkClick r:id="" action="ppaction://hlinkshowjump?jump=nextslide" highlightClick="1"/>
          </p:cNvPr>
          <p:cNvSpPr/>
          <p:nvPr/>
        </p:nvSpPr>
        <p:spPr>
          <a:xfrm>
            <a:off x="1127077" y="6397889"/>
            <a:ext cx="402336" cy="402336"/>
          </a:xfrm>
          <a:prstGeom prst="actionButtonForwardNext">
            <a:avLst/>
          </a:prstGeom>
          <a:solidFill>
            <a:srgbClr val="00CAC5">
              <a:alpha val="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28" name="Action Button: Back or Previous 27">
            <a:hlinkClick r:id="" action="ppaction://hlinkshowjump?jump=previousslide" highlightClick="1"/>
          </p:cNvPr>
          <p:cNvSpPr/>
          <p:nvPr/>
        </p:nvSpPr>
        <p:spPr>
          <a:xfrm>
            <a:off x="249959" y="6390115"/>
            <a:ext cx="402336" cy="402336"/>
          </a:xfrm>
          <a:prstGeom prst="actionButtonBackPrevious">
            <a:avLst/>
          </a:prstGeom>
          <a:solidFill>
            <a:srgbClr val="00CAC5">
              <a:alpha val="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29" name="Imagem 2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6456" y="6269329"/>
            <a:ext cx="1332148" cy="436619"/>
          </a:xfrm>
          <a:prstGeom prst="rect">
            <a:avLst/>
          </a:prstGeom>
        </p:spPr>
      </p:pic>
      <p:sp>
        <p:nvSpPr>
          <p:cNvPr id="30" name="Slide Number Placeholder 5"/>
          <p:cNvSpPr txBox="1">
            <a:spLocks/>
          </p:cNvSpPr>
          <p:nvPr/>
        </p:nvSpPr>
        <p:spPr>
          <a:xfrm>
            <a:off x="1504333" y="6093326"/>
            <a:ext cx="5167732" cy="677108"/>
          </a:xfrm>
          <a:prstGeom prst="rect">
            <a:avLst/>
          </a:prstGeom>
        </p:spPr>
        <p:txBody>
          <a:bodyPr vert="horz" wrap="square" lIns="121920" tIns="60960" rIns="121920" bIns="6096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pt-BR" dirty="0">
              <a:solidFill>
                <a:prstClr val="white">
                  <a:lumMod val="50000"/>
                </a:prstClr>
              </a:solidFill>
            </a:endParaRPr>
          </a:p>
          <a:p>
            <a:pPr algn="l"/>
            <a:endParaRPr lang="pt-BR" dirty="0">
              <a:solidFill>
                <a:prstClr val="white">
                  <a:lumMod val="50000"/>
                </a:prstClr>
              </a:solidFill>
            </a:endParaRPr>
          </a:p>
          <a:p>
            <a:pPr algn="l"/>
            <a:r>
              <a:rPr lang="pt-BR" dirty="0">
                <a:solidFill>
                  <a:prstClr val="white">
                    <a:lumMod val="50000"/>
                  </a:prstClr>
                </a:solidFill>
              </a:rPr>
              <a:t> ELETROBRAS - Plano Diretor de Negócios e Gestão - PDNG 2019-2023 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5413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9" r:id="rId1"/>
    <p:sldLayoutId id="2147484020" r:id="rId2"/>
    <p:sldLayoutId id="2147484021" r:id="rId3"/>
    <p:sldLayoutId id="2147484022" r:id="rId4"/>
  </p:sldLayoutIdLst>
  <p:txStyles>
    <p:titleStyle>
      <a:lvl1pPr algn="ctr" defTabSz="1219170" rtl="0" eaLnBrk="1" latinLnBrk="0" hangingPunct="1">
        <a:lnSpc>
          <a:spcPct val="86000"/>
        </a:lnSpc>
        <a:spcBef>
          <a:spcPct val="0"/>
        </a:spcBef>
        <a:buNone/>
        <a:defRPr sz="2800" kern="800" spc="-53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000" kern="800" spc="-13">
          <a:solidFill>
            <a:schemeClr val="tx1"/>
          </a:solidFill>
          <a:latin typeface="+mn-lt"/>
          <a:ea typeface="+mn-ea"/>
          <a:cs typeface="+mn-cs"/>
        </a:defRPr>
      </a:lvl1pPr>
      <a:lvl2pPr marL="459306" indent="-230712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2pPr>
      <a:lvl3pPr marL="687900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800">
          <a:solidFill>
            <a:schemeClr val="tx1"/>
          </a:solidFill>
          <a:latin typeface="+mn-lt"/>
          <a:ea typeface="+mn-ea"/>
          <a:cs typeface="+mn-cs"/>
        </a:defRPr>
      </a:lvl3pPr>
      <a:lvl4pPr marL="9164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4pPr>
      <a:lvl5pPr marL="1145089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600" kern="8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ACA07B-98F6-4EAF-8474-98F419AA9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3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03819C-9096-4B5C-82EA-C83B2E2C4C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3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C3E54D-AE8B-4BC3-816B-D760FEA6B2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29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77D99D-339D-4FEB-A56E-4FE169FC86DC}" type="datetimeFigureOut">
              <a:rPr lang="en-US" smtClean="0">
                <a:solidFill>
                  <a:srgbClr val="595959">
                    <a:tint val="75000"/>
                  </a:srgbClr>
                </a:solidFill>
              </a:rPr>
              <a:pPr/>
              <a:t>5/19/2023</a:t>
            </a:fld>
            <a:endParaRPr lang="en-US">
              <a:solidFill>
                <a:srgbClr val="595959">
                  <a:tint val="7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63E3A5-4AC4-4DE2-9768-3B864D315A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2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595959">
                  <a:tint val="75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E6FD71-ED69-4F0E-88A3-B1C401B31F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426BC6-6DB6-42AB-A288-9C40D6DB0426}" type="slidenum">
              <a:rPr lang="en-US" smtClean="0">
                <a:solidFill>
                  <a:srgbClr val="595959">
                    <a:tint val="75000"/>
                  </a:srgbClr>
                </a:solidFill>
              </a:rPr>
              <a:pPr/>
              <a:t>‹nº›</a:t>
            </a:fld>
            <a:endParaRPr lang="en-US">
              <a:solidFill>
                <a:srgbClr val="595959">
                  <a:tint val="75000"/>
                </a:srgbClr>
              </a:solidFill>
            </a:endParaRPr>
          </a:p>
        </p:txBody>
      </p:sp>
      <p:sp>
        <p:nvSpPr>
          <p:cNvPr id="8" name="TextBox 11"/>
          <p:cNvSpPr txBox="1"/>
          <p:nvPr/>
        </p:nvSpPr>
        <p:spPr>
          <a:xfrm>
            <a:off x="231820" y="6457866"/>
            <a:ext cx="147974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100" b="1">
                <a:solidFill>
                  <a:prstClr val="white">
                    <a:lumMod val="50000"/>
                  </a:prstClr>
                </a:solidFill>
                <a:latin typeface="Calibri Light" panose="020F0302020204030204"/>
              </a:rPr>
              <a:t>PDNG 2019-2024</a:t>
            </a:r>
            <a:endParaRPr lang="en-US" sz="1100">
              <a:solidFill>
                <a:prstClr val="white">
                  <a:lumMod val="50000"/>
                </a:prstClr>
              </a:solidFill>
              <a:latin typeface="Calibri Light" panose="020F0302020204030204"/>
            </a:endParaRPr>
          </a:p>
        </p:txBody>
      </p:sp>
      <p:cxnSp>
        <p:nvCxnSpPr>
          <p:cNvPr id="9" name="Straight Connector 12"/>
          <p:cNvCxnSpPr/>
          <p:nvPr/>
        </p:nvCxnSpPr>
        <p:spPr>
          <a:xfrm>
            <a:off x="0" y="6719476"/>
            <a:ext cx="160986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711599" y="6478727"/>
            <a:ext cx="964223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solidFill>
                  <a:prstClr val="white">
                    <a:lumMod val="50000"/>
                  </a:prstClr>
                </a:solidFill>
                <a:latin typeface="Calibri Light" panose="020F0302020204030204"/>
              </a:rPr>
              <a:t>Plano Diretor de Negócios e Gestão</a:t>
            </a:r>
            <a:endParaRPr lang="en-US" sz="1100" dirty="0">
              <a:solidFill>
                <a:prstClr val="white">
                  <a:lumMod val="50000"/>
                </a:prstClr>
              </a:solidFill>
              <a:latin typeface="Calibri Light" panose="020F0302020204030204"/>
            </a:endParaRPr>
          </a:p>
        </p:txBody>
      </p:sp>
      <p:grpSp>
        <p:nvGrpSpPr>
          <p:cNvPr id="14" name="Grupo 13"/>
          <p:cNvGrpSpPr/>
          <p:nvPr/>
        </p:nvGrpSpPr>
        <p:grpSpPr>
          <a:xfrm>
            <a:off x="10443452" y="6320602"/>
            <a:ext cx="1331159" cy="436619"/>
            <a:chOff x="234394" y="146814"/>
            <a:chExt cx="1331159" cy="436619"/>
          </a:xfrm>
        </p:grpSpPr>
        <p:pic>
          <p:nvPicPr>
            <p:cNvPr id="7" name="Imagem 6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856"/>
            <a:stretch/>
          </p:blipFill>
          <p:spPr>
            <a:xfrm>
              <a:off x="591157" y="146814"/>
              <a:ext cx="974396" cy="436619"/>
            </a:xfrm>
            <a:prstGeom prst="rect">
              <a:avLst/>
            </a:prstGeom>
          </p:spPr>
        </p:pic>
        <p:pic>
          <p:nvPicPr>
            <p:cNvPr id="13" name="Imagem 12"/>
            <p:cNvPicPr>
              <a:picLocks noChangeAspect="1"/>
            </p:cNvPicPr>
            <p:nvPr userDrawn="1"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3000"/>
            <a:stretch/>
          </p:blipFill>
          <p:spPr>
            <a:xfrm>
              <a:off x="234394" y="161272"/>
              <a:ext cx="359675" cy="37004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55473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9" r:id="rId1"/>
    <p:sldLayoutId id="2147484090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ACA07B-98F6-4EAF-8474-98F419AA9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3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03819C-9096-4B5C-82EA-C83B2E2C4C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3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C3E54D-AE8B-4BC3-816B-D760FEA6B2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29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77D99D-339D-4FEB-A56E-4FE169FC86DC}" type="datetimeFigureOut">
              <a:rPr lang="en-US" smtClean="0">
                <a:solidFill>
                  <a:srgbClr val="595959">
                    <a:tint val="75000"/>
                  </a:srgbClr>
                </a:solidFill>
              </a:rPr>
              <a:pPr/>
              <a:t>5/19/2023</a:t>
            </a:fld>
            <a:endParaRPr lang="en-US">
              <a:solidFill>
                <a:srgbClr val="595959">
                  <a:tint val="7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63E3A5-4AC4-4DE2-9768-3B864D315A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2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595959">
                  <a:tint val="75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E6FD71-ED69-4F0E-88A3-B1C401B31F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426BC6-6DB6-42AB-A288-9C40D6DB0426}" type="slidenum">
              <a:rPr lang="en-US" smtClean="0">
                <a:solidFill>
                  <a:srgbClr val="595959">
                    <a:tint val="75000"/>
                  </a:srgbClr>
                </a:solidFill>
              </a:rPr>
              <a:pPr/>
              <a:t>‹nº›</a:t>
            </a:fld>
            <a:endParaRPr lang="en-US">
              <a:solidFill>
                <a:srgbClr val="595959">
                  <a:tint val="75000"/>
                </a:srgbClr>
              </a:solidFill>
            </a:endParaRPr>
          </a:p>
        </p:txBody>
      </p:sp>
      <p:sp>
        <p:nvSpPr>
          <p:cNvPr id="8" name="TextBox 11"/>
          <p:cNvSpPr txBox="1"/>
          <p:nvPr/>
        </p:nvSpPr>
        <p:spPr>
          <a:xfrm>
            <a:off x="231820" y="6457866"/>
            <a:ext cx="147974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100" b="1" dirty="0" err="1">
                <a:solidFill>
                  <a:prstClr val="white">
                    <a:lumMod val="50000"/>
                  </a:prstClr>
                </a:solidFill>
                <a:latin typeface="Calibri Light" panose="020F0302020204030204"/>
              </a:rPr>
              <a:t>PDNG</a:t>
            </a:r>
            <a:r>
              <a:rPr lang="pt-BR" sz="1100" b="1" dirty="0">
                <a:solidFill>
                  <a:prstClr val="white">
                    <a:lumMod val="50000"/>
                  </a:prstClr>
                </a:solidFill>
                <a:latin typeface="Calibri Light" panose="020F0302020204030204"/>
              </a:rPr>
              <a:t> 2019-2023</a:t>
            </a:r>
            <a:endParaRPr lang="en-US" sz="1100" dirty="0">
              <a:solidFill>
                <a:prstClr val="white">
                  <a:lumMod val="50000"/>
                </a:prstClr>
              </a:solidFill>
              <a:latin typeface="Calibri Light" panose="020F0302020204030204"/>
            </a:endParaRPr>
          </a:p>
        </p:txBody>
      </p:sp>
      <p:cxnSp>
        <p:nvCxnSpPr>
          <p:cNvPr id="9" name="Straight Connector 12"/>
          <p:cNvCxnSpPr/>
          <p:nvPr/>
        </p:nvCxnSpPr>
        <p:spPr>
          <a:xfrm>
            <a:off x="0" y="6719476"/>
            <a:ext cx="160986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711599" y="6478727"/>
            <a:ext cx="964223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solidFill>
                  <a:prstClr val="white">
                    <a:lumMod val="50000"/>
                  </a:prstClr>
                </a:solidFill>
                <a:latin typeface="Calibri Light" panose="020F0302020204030204"/>
              </a:rPr>
              <a:t>Plano Diretor de Negócios e Gestão</a:t>
            </a:r>
            <a:endParaRPr lang="en-US" sz="1100" dirty="0">
              <a:solidFill>
                <a:prstClr val="white">
                  <a:lumMod val="50000"/>
                </a:prstClr>
              </a:solidFill>
              <a:latin typeface="Calibri Light" panose="020F0302020204030204"/>
            </a:endParaRPr>
          </a:p>
        </p:txBody>
      </p:sp>
      <p:grpSp>
        <p:nvGrpSpPr>
          <p:cNvPr id="14" name="Grupo 13"/>
          <p:cNvGrpSpPr/>
          <p:nvPr/>
        </p:nvGrpSpPr>
        <p:grpSpPr>
          <a:xfrm>
            <a:off x="10443452" y="6320602"/>
            <a:ext cx="1331159" cy="436619"/>
            <a:chOff x="234394" y="146814"/>
            <a:chExt cx="1331159" cy="436619"/>
          </a:xfrm>
        </p:grpSpPr>
        <p:pic>
          <p:nvPicPr>
            <p:cNvPr id="7" name="Imagem 6"/>
            <p:cNvPicPr>
              <a:picLocks noChangeAspect="1"/>
            </p:cNvPicPr>
            <p:nvPr userDrawn="1"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856"/>
            <a:stretch/>
          </p:blipFill>
          <p:spPr>
            <a:xfrm>
              <a:off x="591157" y="146814"/>
              <a:ext cx="974396" cy="436619"/>
            </a:xfrm>
            <a:prstGeom prst="rect">
              <a:avLst/>
            </a:prstGeom>
          </p:spPr>
        </p:pic>
        <p:pic>
          <p:nvPicPr>
            <p:cNvPr id="13" name="Imagem 12"/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3000"/>
            <a:stretch/>
          </p:blipFill>
          <p:spPr>
            <a:xfrm>
              <a:off x="234394" y="161272"/>
              <a:ext cx="359675" cy="37004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4153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8" r:id="rId1"/>
    <p:sldLayoutId id="2147484119" r:id="rId2"/>
    <p:sldLayoutId id="2147484120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ACA07B-98F6-4EAF-8474-98F419AA9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11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03819C-9096-4B5C-82EA-C83B2E2C4C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1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C3E54D-AE8B-4BC3-816B-D760FEA6B2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1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77D99D-339D-4FEB-A56E-4FE169FC86DC}" type="datetimeFigureOut">
              <a:rPr lang="en-US" smtClean="0">
                <a:solidFill>
                  <a:srgbClr val="595959">
                    <a:tint val="75000"/>
                  </a:srgbClr>
                </a:solidFill>
              </a:rPr>
              <a:pPr/>
              <a:t>5/19/2023</a:t>
            </a:fld>
            <a:endParaRPr lang="en-US">
              <a:solidFill>
                <a:srgbClr val="595959">
                  <a:tint val="7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63E3A5-4AC4-4DE2-9768-3B864D315A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2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595959">
                  <a:tint val="75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E6FD71-ED69-4F0E-88A3-B1C401B31F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426BC6-6DB6-42AB-A288-9C40D6DB0426}" type="slidenum">
              <a:rPr lang="en-US" smtClean="0">
                <a:solidFill>
                  <a:srgbClr val="595959">
                    <a:tint val="75000"/>
                  </a:srgbClr>
                </a:solidFill>
              </a:rPr>
              <a:pPr/>
              <a:t>‹nº›</a:t>
            </a:fld>
            <a:endParaRPr lang="en-US">
              <a:solidFill>
                <a:srgbClr val="59595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1450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9" r:id="rId1"/>
    <p:sldLayoutId id="2147484200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slide" Target="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slide" Target="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" Target="slide10.xml"/><Relationship Id="rId7" Type="http://schemas.openxmlformats.org/officeDocument/2006/relationships/slide" Target="slide12.xml"/><Relationship Id="rId2" Type="http://schemas.openxmlformats.org/officeDocument/2006/relationships/slide" Target="slide9.xml"/><Relationship Id="rId1" Type="http://schemas.openxmlformats.org/officeDocument/2006/relationships/slideLayout" Target="../slideLayouts/slideLayout5.xml"/><Relationship Id="rId6" Type="http://schemas.openxmlformats.org/officeDocument/2006/relationships/slide" Target="slide7.xml"/><Relationship Id="rId5" Type="http://schemas.openxmlformats.org/officeDocument/2006/relationships/slide" Target="slide6.xml"/><Relationship Id="rId4" Type="http://schemas.openxmlformats.org/officeDocument/2006/relationships/slide" Target="slide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" Target="slide7.xml"/><Relationship Id="rId2" Type="http://schemas.openxmlformats.org/officeDocument/2006/relationships/slide" Target="slide1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5.png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7.xml"/><Relationship Id="rId2" Type="http://schemas.openxmlformats.org/officeDocument/2006/relationships/slide" Target="slide1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6.png"/><Relationship Id="rId4" Type="http://schemas.openxmlformats.org/officeDocument/2006/relationships/chart" Target="../charts/char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" Target="slide8.xml"/><Relationship Id="rId2" Type="http://schemas.openxmlformats.org/officeDocument/2006/relationships/slide" Target="slide1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5.png"/><Relationship Id="rId4" Type="http://schemas.openxmlformats.org/officeDocument/2006/relationships/chart" Target="../charts/char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slide" Target="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slide" Target="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Agrupar 5">
            <a:extLst>
              <a:ext uri="{FF2B5EF4-FFF2-40B4-BE49-F238E27FC236}">
                <a16:creationId xmlns:a16="http://schemas.microsoft.com/office/drawing/2014/main" id="{633B009A-6439-259C-B811-9DAAC65B5A8C}"/>
              </a:ext>
            </a:extLst>
          </p:cNvPr>
          <p:cNvGrpSpPr/>
          <p:nvPr/>
        </p:nvGrpSpPr>
        <p:grpSpPr>
          <a:xfrm>
            <a:off x="6084755" y="3806042"/>
            <a:ext cx="6107245" cy="89064"/>
            <a:chOff x="-11245" y="3806042"/>
            <a:chExt cx="6107245" cy="114866"/>
          </a:xfrm>
        </p:grpSpPr>
        <p:sp>
          <p:nvSpPr>
            <p:cNvPr id="5" name="Retângulo 4">
              <a:extLst>
                <a:ext uri="{FF2B5EF4-FFF2-40B4-BE49-F238E27FC236}">
                  <a16:creationId xmlns:a16="http://schemas.microsoft.com/office/drawing/2014/main" id="{E73E6980-E93C-29C3-B143-A38302D5AC54}"/>
                </a:ext>
              </a:extLst>
            </p:cNvPr>
            <p:cNvSpPr/>
            <p:nvPr/>
          </p:nvSpPr>
          <p:spPr>
            <a:xfrm>
              <a:off x="1218683" y="3806042"/>
              <a:ext cx="1187532" cy="11486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" name="Retângulo 7">
              <a:extLst>
                <a:ext uri="{FF2B5EF4-FFF2-40B4-BE49-F238E27FC236}">
                  <a16:creationId xmlns:a16="http://schemas.microsoft.com/office/drawing/2014/main" id="{18E9D05D-574B-95F9-44D0-2809E8206977}"/>
                </a:ext>
              </a:extLst>
            </p:cNvPr>
            <p:cNvSpPr/>
            <p:nvPr/>
          </p:nvSpPr>
          <p:spPr>
            <a:xfrm>
              <a:off x="2448611" y="3806042"/>
              <a:ext cx="1187532" cy="114866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Retângulo 8">
              <a:extLst>
                <a:ext uri="{FF2B5EF4-FFF2-40B4-BE49-F238E27FC236}">
                  <a16:creationId xmlns:a16="http://schemas.microsoft.com/office/drawing/2014/main" id="{940A0B1B-47F8-1B02-6AF6-BD8D7752FCD2}"/>
                </a:ext>
              </a:extLst>
            </p:cNvPr>
            <p:cNvSpPr/>
            <p:nvPr/>
          </p:nvSpPr>
          <p:spPr>
            <a:xfrm>
              <a:off x="3678539" y="3806042"/>
              <a:ext cx="1187532" cy="114866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" name="Retângulo 9">
              <a:extLst>
                <a:ext uri="{FF2B5EF4-FFF2-40B4-BE49-F238E27FC236}">
                  <a16:creationId xmlns:a16="http://schemas.microsoft.com/office/drawing/2014/main" id="{3049E21D-1BB1-B3AA-1B8C-07FE6D66F108}"/>
                </a:ext>
              </a:extLst>
            </p:cNvPr>
            <p:cNvSpPr/>
            <p:nvPr/>
          </p:nvSpPr>
          <p:spPr>
            <a:xfrm>
              <a:off x="4908468" y="3806042"/>
              <a:ext cx="1187532" cy="11486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3" name="Retângulo 12">
              <a:extLst>
                <a:ext uri="{FF2B5EF4-FFF2-40B4-BE49-F238E27FC236}">
                  <a16:creationId xmlns:a16="http://schemas.microsoft.com/office/drawing/2014/main" id="{1929C7DD-0D21-C492-ED3C-F896CCA464B3}"/>
                </a:ext>
              </a:extLst>
            </p:cNvPr>
            <p:cNvSpPr/>
            <p:nvPr/>
          </p:nvSpPr>
          <p:spPr>
            <a:xfrm>
              <a:off x="-11245" y="3806042"/>
              <a:ext cx="1187532" cy="11486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12" name="Título 1">
            <a:extLst>
              <a:ext uri="{FF2B5EF4-FFF2-40B4-BE49-F238E27FC236}">
                <a16:creationId xmlns:a16="http://schemas.microsoft.com/office/drawing/2014/main" id="{8DF54828-9EF4-E410-DA08-0F97584049DE}"/>
              </a:ext>
            </a:extLst>
          </p:cNvPr>
          <p:cNvSpPr txBox="1">
            <a:spLocks/>
          </p:cNvSpPr>
          <p:nvPr/>
        </p:nvSpPr>
        <p:spPr>
          <a:xfrm>
            <a:off x="5925787" y="1418442"/>
            <a:ext cx="5438899" cy="2387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3200" dirty="0">
                <a:solidFill>
                  <a:srgbClr val="205875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Relatório da Agenda 2030</a:t>
            </a:r>
          </a:p>
          <a:p>
            <a:pPr algn="ctr"/>
            <a:endParaRPr lang="pt-BR" sz="2400" dirty="0">
              <a:solidFill>
                <a:schemeClr val="tx1">
                  <a:lumMod val="75000"/>
                  <a:lumOff val="25000"/>
                </a:schemeClr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  <a:p>
            <a:pPr algn="ctr"/>
            <a:r>
              <a:rPr lang="pt-BR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Status 2022</a:t>
            </a:r>
          </a:p>
        </p:txBody>
      </p:sp>
      <p:sp>
        <p:nvSpPr>
          <p:cNvPr id="11" name="Retângulo 10"/>
          <p:cNvSpPr/>
          <p:nvPr/>
        </p:nvSpPr>
        <p:spPr>
          <a:xfrm>
            <a:off x="131885" y="6427176"/>
            <a:ext cx="6638192" cy="3604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674174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/>
          <p:cNvSpPr txBox="1">
            <a:spLocks/>
          </p:cNvSpPr>
          <p:nvPr/>
        </p:nvSpPr>
        <p:spPr bwMode="auto">
          <a:xfrm>
            <a:off x="536099" y="1042598"/>
            <a:ext cx="5904154" cy="498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850" tIns="54425" rIns="108850" bIns="54425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8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33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9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defTabSz="542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defTabSz="542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defTabSz="542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defTabSz="542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pt-BR" altLang="pt-BR" sz="1600" dirty="0">
                <a:solidFill>
                  <a:srgbClr val="040404"/>
                </a:solidFill>
                <a:latin typeface="Calibri"/>
                <a:cs typeface="Arial" charset="0"/>
              </a:rPr>
              <a:t>Intensidade de Emissões de gases de efeito estufa (GEE) - tCO²/</a:t>
            </a:r>
            <a:r>
              <a:rPr lang="pt-BR" altLang="pt-BR" sz="1600" dirty="0" err="1">
                <a:solidFill>
                  <a:srgbClr val="040404"/>
                </a:solidFill>
                <a:latin typeface="Calibri"/>
                <a:cs typeface="Arial" charset="0"/>
              </a:rPr>
              <a:t>Mw</a:t>
            </a:r>
            <a:endParaRPr lang="pt-BR" altLang="pt-BR" sz="1600" dirty="0">
              <a:solidFill>
                <a:srgbClr val="040404"/>
              </a:solidFill>
              <a:latin typeface="Calibri"/>
              <a:cs typeface="Arial" charset="0"/>
            </a:endParaRPr>
          </a:p>
        </p:txBody>
      </p:sp>
      <p:grpSp>
        <p:nvGrpSpPr>
          <p:cNvPr id="54" name="Grupo 53"/>
          <p:cNvGrpSpPr/>
          <p:nvPr/>
        </p:nvGrpSpPr>
        <p:grpSpPr>
          <a:xfrm>
            <a:off x="1363150" y="1764756"/>
            <a:ext cx="1564435" cy="261610"/>
            <a:chOff x="7593410" y="1169741"/>
            <a:chExt cx="1142603" cy="261610"/>
          </a:xfrm>
        </p:grpSpPr>
        <p:grpSp>
          <p:nvGrpSpPr>
            <p:cNvPr id="55" name="Grupo 31"/>
            <p:cNvGrpSpPr>
              <a:grpSpLocks/>
            </p:cNvGrpSpPr>
            <p:nvPr/>
          </p:nvGrpSpPr>
          <p:grpSpPr bwMode="auto">
            <a:xfrm>
              <a:off x="7593410" y="1169741"/>
              <a:ext cx="1142603" cy="261610"/>
              <a:chOff x="3477032" y="1670906"/>
              <a:chExt cx="1142802" cy="261442"/>
            </a:xfrm>
          </p:grpSpPr>
          <p:sp>
            <p:nvSpPr>
              <p:cNvPr id="60" name="Seta para baixo 59"/>
              <p:cNvSpPr/>
              <p:nvPr/>
            </p:nvSpPr>
            <p:spPr>
              <a:xfrm rot="10800000" flipV="1">
                <a:off x="3477032" y="1724682"/>
                <a:ext cx="126228" cy="153890"/>
              </a:xfrm>
              <a:prstGeom prst="downArrow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544251">
                  <a:defRPr/>
                </a:pPr>
                <a:endParaRPr lang="pt-BR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CaixaDeTexto 60"/>
              <p:cNvSpPr txBox="1"/>
              <p:nvPr/>
            </p:nvSpPr>
            <p:spPr>
              <a:xfrm>
                <a:off x="3540146" y="1670906"/>
                <a:ext cx="1079688" cy="261442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defTabSz="544251">
                  <a:defRPr/>
                </a:pPr>
                <a:r>
                  <a:rPr lang="pt-BR" sz="1100" dirty="0">
                    <a:solidFill>
                      <a:prstClr val="white">
                        <a:lumMod val="50000"/>
                      </a:prstClr>
                    </a:solidFill>
                    <a:latin typeface="Open Sans Light"/>
                  </a:rPr>
                  <a:t>Melhor</a:t>
                </a:r>
              </a:p>
            </p:txBody>
          </p:sp>
        </p:grpSp>
        <p:cxnSp>
          <p:nvCxnSpPr>
            <p:cNvPr id="57" name="Conector reto 56"/>
            <p:cNvCxnSpPr/>
            <p:nvPr/>
          </p:nvCxnSpPr>
          <p:spPr>
            <a:xfrm>
              <a:off x="8256240" y="1196259"/>
              <a:ext cx="0" cy="21600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ítulo 3">
            <a:extLst>
              <a:ext uri="{FF2B5EF4-FFF2-40B4-BE49-F238E27FC236}">
                <a16:creationId xmlns:a16="http://schemas.microsoft.com/office/drawing/2014/main" id="{5F2A9FFD-DE20-407D-9920-5E9FA81B21B1}"/>
              </a:ext>
            </a:extLst>
          </p:cNvPr>
          <p:cNvSpPr txBox="1">
            <a:spLocks/>
          </p:cNvSpPr>
          <p:nvPr/>
        </p:nvSpPr>
        <p:spPr>
          <a:xfrm>
            <a:off x="479397" y="51286"/>
            <a:ext cx="10657183" cy="817561"/>
          </a:xfrm>
          <a:prstGeom prst="rect">
            <a:avLst/>
          </a:prstGeom>
        </p:spPr>
        <p:txBody>
          <a:bodyPr anchor="b"/>
          <a:lstStyle>
            <a:lvl1pPr algn="ctr" defTabSz="1219170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2800" kern="800" spc="-53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BR" dirty="0">
                <a:solidFill>
                  <a:srgbClr val="595959"/>
                </a:solidFill>
                <a:latin typeface="Open Sans Light" panose="020B0604020202020204" charset="0"/>
                <a:ea typeface="Open Sans Light" panose="020B0604020202020204" charset="0"/>
                <a:cs typeface="Open Sans Light" panose="020B0604020202020204" charset="0"/>
              </a:rPr>
              <a:t>ODS 13 – COMBATE A MUDANÇAS CLIMÁTICAS </a:t>
            </a:r>
          </a:p>
        </p:txBody>
      </p:sp>
      <p:sp>
        <p:nvSpPr>
          <p:cNvPr id="50" name="Divisa 188">
            <a:hlinkClick r:id="rId2" action="ppaction://hlinksldjump"/>
            <a:extLst>
              <a:ext uri="{FF2B5EF4-FFF2-40B4-BE49-F238E27FC236}">
                <a16:creationId xmlns:a16="http://schemas.microsoft.com/office/drawing/2014/main" id="{B1E15FAC-249E-4F47-88C5-A847934B6F32}"/>
              </a:ext>
            </a:extLst>
          </p:cNvPr>
          <p:cNvSpPr/>
          <p:nvPr/>
        </p:nvSpPr>
        <p:spPr>
          <a:xfrm rot="10800000">
            <a:off x="11378060" y="6453810"/>
            <a:ext cx="262785" cy="180000"/>
          </a:xfrm>
          <a:prstGeom prst="chevron">
            <a:avLst/>
          </a:prstGeom>
          <a:solidFill>
            <a:srgbClr val="A2D6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graphicFrame>
        <p:nvGraphicFramePr>
          <p:cNvPr id="59" name="Content Placeholder 5">
            <a:extLst>
              <a:ext uri="{FF2B5EF4-FFF2-40B4-BE49-F238E27FC236}">
                <a16:creationId xmlns:a16="http://schemas.microsoft.com/office/drawing/2014/main" id="{0E9A25E6-7882-455B-87C1-B9C81EF7A4F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61381527"/>
              </p:ext>
            </p:extLst>
          </p:nvPr>
        </p:nvGraphicFramePr>
        <p:xfrm>
          <a:off x="592678" y="2648172"/>
          <a:ext cx="6020006" cy="3293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8" name="Imagem 4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63"/>
          <a:stretch>
            <a:fillRect/>
          </a:stretch>
        </p:blipFill>
        <p:spPr bwMode="auto">
          <a:xfrm>
            <a:off x="2458328" y="1824824"/>
            <a:ext cx="193391" cy="16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CaixaDeTexto 1"/>
          <p:cNvSpPr txBox="1"/>
          <p:nvPr/>
        </p:nvSpPr>
        <p:spPr>
          <a:xfrm>
            <a:off x="2788602" y="1718589"/>
            <a:ext cx="22934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/>
              <a:t>Meta atingida</a:t>
            </a:r>
          </a:p>
        </p:txBody>
      </p:sp>
      <p:sp>
        <p:nvSpPr>
          <p:cNvPr id="27" name="Retângulo 26"/>
          <p:cNvSpPr/>
          <p:nvPr/>
        </p:nvSpPr>
        <p:spPr>
          <a:xfrm>
            <a:off x="131884" y="6427176"/>
            <a:ext cx="10207869" cy="3604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B1F6FE3C-7061-4A33-AEEB-A72E0620E6BD}"/>
              </a:ext>
            </a:extLst>
          </p:cNvPr>
          <p:cNvSpPr txBox="1"/>
          <p:nvPr/>
        </p:nvSpPr>
        <p:spPr>
          <a:xfrm>
            <a:off x="6785114" y="1150068"/>
            <a:ext cx="4815182" cy="4988172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850" tIns="54425" rIns="108850" bIns="54425">
            <a:spAutoFit/>
          </a:bodyPr>
          <a:lstStyle/>
          <a:p>
            <a:pPr defTabSz="914400"/>
            <a:r>
              <a:rPr lang="pt-BR" b="1" dirty="0">
                <a:solidFill>
                  <a:schemeClr val="tx1"/>
                </a:solidFill>
                <a:ea typeface="+mn-ea"/>
                <a:cs typeface="+mn-cs"/>
              </a:rPr>
              <a:t>Indicador mede as emissões do escopo 1 e 2 pela geração líquida</a:t>
            </a: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endParaRPr lang="pt-BR" sz="1600" dirty="0">
              <a:ea typeface="+mn-ea"/>
              <a:cs typeface="+mn-cs"/>
            </a:endParaRPr>
          </a:p>
          <a:p>
            <a:pPr marL="171450" indent="-171450" defTabSz="914400">
              <a:buFont typeface="Wingdings" panose="05000000000000000000" pitchFamily="2" charset="2"/>
              <a:buChar char="§"/>
            </a:pPr>
            <a:r>
              <a:rPr lang="pt-BR" sz="1400" dirty="0"/>
              <a:t>Em 2022, nossas emissões totalizaram 6.920,4 toneladas de CO2 equivalente, entre as quais predominam as emissões contabilizadas para o </a:t>
            </a:r>
            <a:r>
              <a:rPr lang="pt-BR" sz="1400" u="sng" dirty="0"/>
              <a:t>escopo 1</a:t>
            </a:r>
            <a:r>
              <a:rPr lang="pt-BR" sz="1400" dirty="0"/>
              <a:t> 4.629,40 (66,8% do total), seguidas do </a:t>
            </a:r>
            <a:r>
              <a:rPr lang="pt-BR" sz="1400" u="sng" dirty="0"/>
              <a:t>escopo 2</a:t>
            </a:r>
            <a:r>
              <a:rPr lang="pt-BR" sz="1400" dirty="0"/>
              <a:t> 282,6 (4,08% do total) e do </a:t>
            </a:r>
            <a:r>
              <a:rPr lang="pt-BR" sz="1400" u="sng" dirty="0"/>
              <a:t>escopo 3</a:t>
            </a:r>
            <a:r>
              <a:rPr lang="pt-BR" sz="1400" dirty="0"/>
              <a:t> 2.008,5 (29,12% do total);</a:t>
            </a:r>
            <a:endParaRPr lang="pt-BR" sz="1400" b="1" dirty="0">
              <a:ea typeface="+mn-ea"/>
              <a:cs typeface="+mn-cs"/>
            </a:endParaRPr>
          </a:p>
          <a:p>
            <a:pPr defTabSz="914400"/>
            <a:endParaRPr lang="pt-BR" sz="900" dirty="0">
              <a:ea typeface="+mn-ea"/>
              <a:cs typeface="+mn-cs"/>
            </a:endParaRPr>
          </a:p>
          <a:p>
            <a:pPr marL="171450" indent="-171450" defTabSz="914400">
              <a:buFont typeface="Wingdings" panose="05000000000000000000" pitchFamily="2" charset="2"/>
              <a:buChar char="§"/>
            </a:pPr>
            <a:r>
              <a:rPr lang="pt-BR" sz="1400" dirty="0">
                <a:ea typeface="+mn-ea"/>
                <a:cs typeface="+mn-cs"/>
              </a:rPr>
              <a:t>Resultado demonstra a DNA da Eletronuclear de não emitir Gases de Efeito Estufa em sua produção;</a:t>
            </a:r>
          </a:p>
          <a:p>
            <a:pPr defTabSz="914400"/>
            <a:endParaRPr lang="pt-BR" sz="900" dirty="0">
              <a:ea typeface="+mn-ea"/>
              <a:cs typeface="+mn-cs"/>
            </a:endParaRPr>
          </a:p>
          <a:p>
            <a:pPr marL="171450" indent="-171450" defTabSz="914400">
              <a:buFont typeface="Wingdings" panose="05000000000000000000" pitchFamily="2" charset="2"/>
              <a:buChar char="§"/>
            </a:pPr>
            <a:r>
              <a:rPr lang="pt-BR" sz="1400" dirty="0"/>
              <a:t>Uma das principais características da geração nuclear de energia é o fato de não emitir gases de efeito estufa (GEE) em quantidades relevantes. A energia nuclear figura no planejamento energético de vários países como uma fonte de energia que se alinha à busca por promover uma transição energética.;</a:t>
            </a:r>
            <a:endParaRPr lang="pt-BR" sz="1400" dirty="0">
              <a:ea typeface="+mn-ea"/>
              <a:cs typeface="+mn-cs"/>
            </a:endParaRPr>
          </a:p>
          <a:p>
            <a:pPr defTabSz="914400"/>
            <a:endParaRPr lang="pt-BR" sz="900" dirty="0">
              <a:ea typeface="+mn-ea"/>
              <a:cs typeface="+mn-cs"/>
            </a:endParaRPr>
          </a:p>
          <a:p>
            <a:pPr marL="171450" indent="-171450" defTabSz="914400">
              <a:buFont typeface="Wingdings" panose="05000000000000000000" pitchFamily="2" charset="2"/>
              <a:buChar char="§"/>
            </a:pPr>
            <a:r>
              <a:rPr lang="pt-BR" sz="1400" dirty="0"/>
              <a:t>Adotamos a metodologia do Painel Intergovernamental sobre Mudanças Climáticas (IPCC) e as diretrizes do GHG </a:t>
            </a:r>
            <a:r>
              <a:rPr lang="pt-BR" sz="1400" dirty="0" err="1"/>
              <a:t>Protocol</a:t>
            </a:r>
            <a:r>
              <a:rPr lang="pt-BR" sz="1400" dirty="0"/>
              <a:t> (</a:t>
            </a:r>
            <a:r>
              <a:rPr lang="pt-BR" sz="1400" dirty="0" err="1"/>
              <a:t>Greenhouse</a:t>
            </a:r>
            <a:r>
              <a:rPr lang="pt-BR" sz="1400" dirty="0"/>
              <a:t> </a:t>
            </a:r>
            <a:r>
              <a:rPr lang="pt-BR" sz="1400" dirty="0" err="1"/>
              <a:t>Gas</a:t>
            </a:r>
            <a:r>
              <a:rPr lang="pt-BR" sz="1400" dirty="0"/>
              <a:t> </a:t>
            </a:r>
            <a:r>
              <a:rPr lang="pt-BR" sz="1400" dirty="0" err="1"/>
              <a:t>Protocol</a:t>
            </a:r>
            <a:r>
              <a:rPr lang="pt-BR" sz="1400" dirty="0"/>
              <a:t>) para produzir o inventário de emissões. </a:t>
            </a:r>
            <a:endParaRPr lang="pt-BR" sz="1100" dirty="0"/>
          </a:p>
        </p:txBody>
      </p:sp>
    </p:spTree>
    <p:extLst>
      <p:ext uri="{BB962C8B-B14F-4D97-AF65-F5344CB8AC3E}">
        <p14:creationId xmlns:p14="http://schemas.microsoft.com/office/powerpoint/2010/main" val="15049035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ítulo 3">
            <a:extLst>
              <a:ext uri="{FF2B5EF4-FFF2-40B4-BE49-F238E27FC236}">
                <a16:creationId xmlns:a16="http://schemas.microsoft.com/office/drawing/2014/main" id="{5F2A9FFD-DE20-407D-9920-5E9FA81B21B1}"/>
              </a:ext>
            </a:extLst>
          </p:cNvPr>
          <p:cNvSpPr txBox="1">
            <a:spLocks/>
          </p:cNvSpPr>
          <p:nvPr/>
        </p:nvSpPr>
        <p:spPr>
          <a:xfrm>
            <a:off x="479397" y="51286"/>
            <a:ext cx="10657183" cy="817561"/>
          </a:xfrm>
          <a:prstGeom prst="rect">
            <a:avLst/>
          </a:prstGeom>
        </p:spPr>
        <p:txBody>
          <a:bodyPr anchor="b"/>
          <a:lstStyle>
            <a:lvl1pPr algn="ctr" defTabSz="1219170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2800" kern="800" spc="-53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BR" dirty="0">
                <a:solidFill>
                  <a:srgbClr val="595959"/>
                </a:solidFill>
                <a:latin typeface="Open Sans Light" panose="020B0604020202020204" charset="0"/>
                <a:ea typeface="Open Sans Light" panose="020B0604020202020204" charset="0"/>
                <a:cs typeface="Open Sans Light" panose="020B0604020202020204" charset="0"/>
              </a:rPr>
              <a:t>ODS 16 – PAZ, JUSTIÇA E INSTITUIÇÕES EFICAZES</a:t>
            </a:r>
          </a:p>
        </p:txBody>
      </p:sp>
      <p:sp>
        <p:nvSpPr>
          <p:cNvPr id="50" name="Divisa 188">
            <a:hlinkClick r:id="rId2" action="ppaction://hlinksldjump"/>
            <a:extLst>
              <a:ext uri="{FF2B5EF4-FFF2-40B4-BE49-F238E27FC236}">
                <a16:creationId xmlns:a16="http://schemas.microsoft.com/office/drawing/2014/main" id="{B1E15FAC-249E-4F47-88C5-A847934B6F32}"/>
              </a:ext>
            </a:extLst>
          </p:cNvPr>
          <p:cNvSpPr/>
          <p:nvPr/>
        </p:nvSpPr>
        <p:spPr>
          <a:xfrm rot="10800000">
            <a:off x="11378060" y="6453810"/>
            <a:ext cx="262785" cy="180000"/>
          </a:xfrm>
          <a:prstGeom prst="chevron">
            <a:avLst/>
          </a:prstGeom>
          <a:solidFill>
            <a:srgbClr val="A2D6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sp>
        <p:nvSpPr>
          <p:cNvPr id="30" name="Title 1"/>
          <p:cNvSpPr txBox="1">
            <a:spLocks/>
          </p:cNvSpPr>
          <p:nvPr/>
        </p:nvSpPr>
        <p:spPr bwMode="auto">
          <a:xfrm>
            <a:off x="667545" y="1070948"/>
            <a:ext cx="5255704" cy="498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850" tIns="54425" rIns="108850" bIns="54425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8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33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9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defTabSz="542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defTabSz="542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defTabSz="542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defTabSz="542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pt-BR" altLang="pt-BR" sz="1800" dirty="0">
                <a:solidFill>
                  <a:srgbClr val="040404"/>
                </a:solidFill>
                <a:latin typeface="Calibri"/>
                <a:cs typeface="Arial" charset="0"/>
              </a:rPr>
              <a:t>Colaboradores treinados em Direitos Humanos</a:t>
            </a:r>
          </a:p>
        </p:txBody>
      </p:sp>
      <p:graphicFrame>
        <p:nvGraphicFramePr>
          <p:cNvPr id="42" name="Content Placeholder 5">
            <a:extLst>
              <a:ext uri="{FF2B5EF4-FFF2-40B4-BE49-F238E27FC236}">
                <a16:creationId xmlns:a16="http://schemas.microsoft.com/office/drawing/2014/main" id="{9C3BB043-A7FC-4A16-891F-2AA3E9EC893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2373234"/>
              </p:ext>
            </p:extLst>
          </p:nvPr>
        </p:nvGraphicFramePr>
        <p:xfrm>
          <a:off x="667545" y="2709899"/>
          <a:ext cx="5985047" cy="33773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46" name="Grupo 45"/>
          <p:cNvGrpSpPr/>
          <p:nvPr/>
        </p:nvGrpSpPr>
        <p:grpSpPr>
          <a:xfrm>
            <a:off x="916262" y="1827049"/>
            <a:ext cx="1564435" cy="261610"/>
            <a:chOff x="7593410" y="1169741"/>
            <a:chExt cx="1142603" cy="261610"/>
          </a:xfrm>
        </p:grpSpPr>
        <p:grpSp>
          <p:nvGrpSpPr>
            <p:cNvPr id="47" name="Grupo 31"/>
            <p:cNvGrpSpPr>
              <a:grpSpLocks/>
            </p:cNvGrpSpPr>
            <p:nvPr/>
          </p:nvGrpSpPr>
          <p:grpSpPr bwMode="auto">
            <a:xfrm>
              <a:off x="7593410" y="1169741"/>
              <a:ext cx="1142603" cy="261610"/>
              <a:chOff x="3477032" y="1670906"/>
              <a:chExt cx="1142802" cy="261442"/>
            </a:xfrm>
          </p:grpSpPr>
          <p:sp>
            <p:nvSpPr>
              <p:cNvPr id="51" name="Seta para baixo 50"/>
              <p:cNvSpPr/>
              <p:nvPr/>
            </p:nvSpPr>
            <p:spPr>
              <a:xfrm flipV="1">
                <a:off x="3477032" y="1724682"/>
                <a:ext cx="126228" cy="153890"/>
              </a:xfrm>
              <a:prstGeom prst="downArrow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544251">
                  <a:defRPr/>
                </a:pPr>
                <a:endParaRPr lang="pt-BR">
                  <a:solidFill>
                    <a:prstClr val="white"/>
                  </a:solidFill>
                </a:endParaRPr>
              </a:p>
            </p:txBody>
          </p:sp>
          <p:sp>
            <p:nvSpPr>
              <p:cNvPr id="52" name="CaixaDeTexto 51"/>
              <p:cNvSpPr txBox="1"/>
              <p:nvPr/>
            </p:nvSpPr>
            <p:spPr>
              <a:xfrm>
                <a:off x="3540146" y="1670906"/>
                <a:ext cx="1079688" cy="261442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defTabSz="544251">
                  <a:defRPr/>
                </a:pPr>
                <a:r>
                  <a:rPr lang="pt-BR" sz="1100" dirty="0">
                    <a:solidFill>
                      <a:prstClr val="white">
                        <a:lumMod val="50000"/>
                      </a:prstClr>
                    </a:solidFill>
                    <a:latin typeface="Open Sans Light"/>
                  </a:rPr>
                  <a:t>Melhor</a:t>
                </a:r>
              </a:p>
            </p:txBody>
          </p:sp>
        </p:grpSp>
        <p:cxnSp>
          <p:nvCxnSpPr>
            <p:cNvPr id="49" name="Conector reto 48"/>
            <p:cNvCxnSpPr/>
            <p:nvPr/>
          </p:nvCxnSpPr>
          <p:spPr>
            <a:xfrm>
              <a:off x="8256240" y="1196259"/>
              <a:ext cx="0" cy="21600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CaixaDeTexto 57"/>
          <p:cNvSpPr txBox="1"/>
          <p:nvPr/>
        </p:nvSpPr>
        <p:spPr>
          <a:xfrm>
            <a:off x="2091779" y="1820458"/>
            <a:ext cx="22934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/>
              <a:t>Meta não atingida</a:t>
            </a:r>
          </a:p>
        </p:txBody>
      </p:sp>
      <p:sp>
        <p:nvSpPr>
          <p:cNvPr id="27" name="Retângulo 26"/>
          <p:cNvSpPr/>
          <p:nvPr/>
        </p:nvSpPr>
        <p:spPr>
          <a:xfrm>
            <a:off x="131884" y="6427176"/>
            <a:ext cx="10207869" cy="3604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9" name="Picture 2" descr="C:\Users\LARROSA\Desktop\n atingid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2751" y="1897776"/>
            <a:ext cx="140400" cy="239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CaixaDeTexto 14">
            <a:extLst>
              <a:ext uri="{FF2B5EF4-FFF2-40B4-BE49-F238E27FC236}">
                <a16:creationId xmlns:a16="http://schemas.microsoft.com/office/drawing/2014/main" id="{F09F2B3E-36BE-4732-B311-446915340835}"/>
              </a:ext>
            </a:extLst>
          </p:cNvPr>
          <p:cNvSpPr txBox="1"/>
          <p:nvPr/>
        </p:nvSpPr>
        <p:spPr>
          <a:xfrm>
            <a:off x="6785114" y="1150068"/>
            <a:ext cx="4815182" cy="4234119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850" tIns="54425" rIns="108850" bIns="54425">
            <a:spAutoFit/>
          </a:bodyPr>
          <a:lstStyle/>
          <a:p>
            <a:pPr defTabSz="544251">
              <a:defRPr/>
            </a:pPr>
            <a:r>
              <a:rPr lang="pt-BR" b="1" dirty="0"/>
              <a:t>O indicador mede o número colaboradores capacitados em temáticas de direitos humanos, contando quadro efetivo, estagiários, jovens aprendizes e prestadores de serviço</a:t>
            </a:r>
          </a:p>
          <a:p>
            <a:pPr marL="171450" indent="-171450" defTabSz="544251">
              <a:buFont typeface="Courier New" panose="02070309020205020404" pitchFamily="49" charset="0"/>
              <a:buChar char="o"/>
              <a:defRPr/>
            </a:pPr>
            <a:endParaRPr lang="pt-BR" sz="1400" dirty="0"/>
          </a:p>
          <a:p>
            <a:pPr marL="171450" indent="-171450" defTabSz="544251">
              <a:buFont typeface="Wingdings" panose="05000000000000000000" pitchFamily="2" charset="2"/>
              <a:buChar char="§"/>
              <a:defRPr/>
            </a:pPr>
            <a:r>
              <a:rPr lang="pt-BR" sz="1400" dirty="0"/>
              <a:t>No 3º trimestre a Eletronuclear possuía 2.393 colaboradores sendo: 1.725 efetivos + 192 estagiários , 33 jovens aprendizes e 443 terceirizados que utilizam SAP;</a:t>
            </a:r>
          </a:p>
          <a:p>
            <a:pPr marL="171450" indent="-171450" defTabSz="544251">
              <a:buFont typeface="Courier New" panose="02070309020205020404" pitchFamily="49" charset="0"/>
              <a:buChar char="o"/>
              <a:defRPr/>
            </a:pPr>
            <a:endParaRPr lang="pt-BR" sz="1400" dirty="0"/>
          </a:p>
          <a:p>
            <a:pPr marL="171450" indent="-171450" defTabSz="544251">
              <a:buFont typeface="Wingdings" panose="05000000000000000000" pitchFamily="2" charset="2"/>
              <a:buChar char="§"/>
              <a:defRPr/>
            </a:pPr>
            <a:r>
              <a:rPr lang="pt-BR" sz="1400" dirty="0"/>
              <a:t>Em 2021, foram treinados 623 colaboradores foram treinados entre empregados, estagiários, prestadores de serviço e jovens aprendizes. Em 2022, foram treinados 56 colaboradores, além dos que já foram treinados em 2021;</a:t>
            </a:r>
          </a:p>
          <a:p>
            <a:pPr marL="171450" indent="-171450" defTabSz="544251">
              <a:buFont typeface="Courier New" panose="02070309020205020404" pitchFamily="49" charset="0"/>
              <a:buChar char="o"/>
              <a:defRPr/>
            </a:pPr>
            <a:endParaRPr lang="pt-BR" sz="1400" dirty="0"/>
          </a:p>
          <a:p>
            <a:pPr marL="171450" indent="-171450" defTabSz="544251">
              <a:buFont typeface="Wingdings" panose="05000000000000000000" pitchFamily="2" charset="2"/>
              <a:buChar char="§"/>
              <a:defRPr/>
            </a:pPr>
            <a:r>
              <a:rPr lang="pt-BR" sz="1400" dirty="0"/>
              <a:t>Os treinamentos disponibilizados foram:  Palestra Desigualdade de Gênero no ambiente de trabalho e Treinamento de Direitos Humanos disponibilizados pela </a:t>
            </a:r>
            <a:r>
              <a:rPr lang="pt-BR" sz="1400" dirty="0" err="1"/>
              <a:t>Unise</a:t>
            </a:r>
            <a:endParaRPr lang="pt-BR" sz="1000" dirty="0"/>
          </a:p>
        </p:txBody>
      </p:sp>
    </p:spTree>
    <p:extLst>
      <p:ext uri="{BB962C8B-B14F-4D97-AF65-F5344CB8AC3E}">
        <p14:creationId xmlns:p14="http://schemas.microsoft.com/office/powerpoint/2010/main" val="42898786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86140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tângulo 74"/>
          <p:cNvSpPr/>
          <p:nvPr/>
        </p:nvSpPr>
        <p:spPr>
          <a:xfrm>
            <a:off x="6225281" y="884103"/>
            <a:ext cx="4926563" cy="21696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rgbClr val="002060"/>
                </a:solidFill>
              </a:rPr>
              <a:t>ODS Priorizados</a:t>
            </a:r>
          </a:p>
          <a:p>
            <a:pPr algn="ctr"/>
            <a:endParaRPr lang="pt-BR" dirty="0">
              <a:solidFill>
                <a:srgbClr val="002060"/>
              </a:solidFill>
            </a:endParaRPr>
          </a:p>
          <a:p>
            <a:pPr algn="ctr"/>
            <a:endParaRPr lang="pt-BR" dirty="0">
              <a:solidFill>
                <a:srgbClr val="00639C"/>
              </a:solidFill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131885" y="6427176"/>
            <a:ext cx="6638192" cy="3604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8" name="Retângulo 37">
            <a:extLst>
              <a:ext uri="{FF2B5EF4-FFF2-40B4-BE49-F238E27FC236}">
                <a16:creationId xmlns:a16="http://schemas.microsoft.com/office/drawing/2014/main" id="{E909F5CD-9798-4033-B7CF-D6F4E4F93423}"/>
              </a:ext>
            </a:extLst>
          </p:cNvPr>
          <p:cNvSpPr/>
          <p:nvPr/>
        </p:nvSpPr>
        <p:spPr>
          <a:xfrm>
            <a:off x="655768" y="336173"/>
            <a:ext cx="1084722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13B6DE">
                    <a:lumMod val="50000"/>
                  </a:srgbClr>
                </a:solidFill>
                <a:effectLst/>
                <a:uLnTx/>
                <a:uFillTx/>
                <a:latin typeface="Helvetica" panose="020B0604020202020204" pitchFamily="34" charset="0"/>
                <a:cs typeface="Helvetica" panose="020B0604020202020204" pitchFamily="34" charset="0"/>
              </a:rPr>
              <a:t>INDICADORES DE AGENDA 2030 - 2022</a:t>
            </a:r>
          </a:p>
        </p:txBody>
      </p:sp>
      <p:sp>
        <p:nvSpPr>
          <p:cNvPr id="83" name="CaixaDeTexto 82"/>
          <p:cNvSpPr txBox="1"/>
          <p:nvPr/>
        </p:nvSpPr>
        <p:spPr>
          <a:xfrm>
            <a:off x="4849884" y="3597197"/>
            <a:ext cx="5328000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pt-BR" sz="1200" dirty="0">
                <a:solidFill>
                  <a:srgbClr val="002060"/>
                </a:solidFill>
              </a:rPr>
              <a:t>Taxa de Frequência de Acidentes com afastamento de empregados próprio</a:t>
            </a:r>
          </a:p>
        </p:txBody>
      </p:sp>
      <p:sp>
        <p:nvSpPr>
          <p:cNvPr id="96" name="CaixaDeTexto 95"/>
          <p:cNvSpPr txBox="1"/>
          <p:nvPr/>
        </p:nvSpPr>
        <p:spPr>
          <a:xfrm>
            <a:off x="10251347" y="3597197"/>
            <a:ext cx="1008000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200" b="1" dirty="0">
                <a:solidFill>
                  <a:srgbClr val="002060"/>
                </a:solidFill>
              </a:rPr>
              <a:t>1,03</a:t>
            </a:r>
          </a:p>
        </p:txBody>
      </p:sp>
      <p:sp>
        <p:nvSpPr>
          <p:cNvPr id="99" name="CaixaDeTexto 98"/>
          <p:cNvSpPr txBox="1"/>
          <p:nvPr/>
        </p:nvSpPr>
        <p:spPr>
          <a:xfrm>
            <a:off x="4849884" y="3989210"/>
            <a:ext cx="5328000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pt-BR" sz="1200" dirty="0">
                <a:solidFill>
                  <a:srgbClr val="002060"/>
                </a:solidFill>
              </a:rPr>
              <a:t>Taxa de Frequência de Acidentes com afastamento de empregados terceiros</a:t>
            </a:r>
          </a:p>
        </p:txBody>
      </p:sp>
      <p:sp>
        <p:nvSpPr>
          <p:cNvPr id="107" name="CaixaDeTexto 106"/>
          <p:cNvSpPr txBox="1"/>
          <p:nvPr/>
        </p:nvSpPr>
        <p:spPr>
          <a:xfrm>
            <a:off x="10251347" y="3989210"/>
            <a:ext cx="1008000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200" b="1" dirty="0">
                <a:solidFill>
                  <a:srgbClr val="002060"/>
                </a:solidFill>
              </a:rPr>
              <a:t>1,54</a:t>
            </a:r>
          </a:p>
        </p:txBody>
      </p:sp>
      <p:sp>
        <p:nvSpPr>
          <p:cNvPr id="119" name="CaixaDeTexto 118"/>
          <p:cNvSpPr txBox="1"/>
          <p:nvPr/>
        </p:nvSpPr>
        <p:spPr>
          <a:xfrm>
            <a:off x="4849884" y="4381223"/>
            <a:ext cx="5328000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pt-BR" sz="1200" dirty="0">
                <a:solidFill>
                  <a:srgbClr val="002060"/>
                </a:solidFill>
              </a:rPr>
              <a:t>Automação Digital para otimização do trabalho</a:t>
            </a:r>
          </a:p>
        </p:txBody>
      </p:sp>
      <p:sp>
        <p:nvSpPr>
          <p:cNvPr id="123" name="CaixaDeTexto 122"/>
          <p:cNvSpPr txBox="1"/>
          <p:nvPr/>
        </p:nvSpPr>
        <p:spPr>
          <a:xfrm>
            <a:off x="10251347" y="4381223"/>
            <a:ext cx="1008000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200" b="1" dirty="0">
                <a:solidFill>
                  <a:srgbClr val="002060"/>
                </a:solidFill>
              </a:rPr>
              <a:t>2.500</a:t>
            </a:r>
          </a:p>
        </p:txBody>
      </p:sp>
      <p:sp>
        <p:nvSpPr>
          <p:cNvPr id="124" name="CaixaDeTexto 123"/>
          <p:cNvSpPr txBox="1"/>
          <p:nvPr/>
        </p:nvSpPr>
        <p:spPr>
          <a:xfrm>
            <a:off x="4849884" y="4773236"/>
            <a:ext cx="5328000" cy="277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pt-BR" sz="1200" dirty="0">
                <a:solidFill>
                  <a:srgbClr val="002060"/>
                </a:solidFill>
              </a:rPr>
              <a:t>Índice Consolidado de Diversidade nas Posições Gerenciais e Processos Sucessórios</a:t>
            </a:r>
          </a:p>
        </p:txBody>
      </p:sp>
      <p:sp>
        <p:nvSpPr>
          <p:cNvPr id="125" name="CaixaDeTexto 124"/>
          <p:cNvSpPr txBox="1"/>
          <p:nvPr/>
        </p:nvSpPr>
        <p:spPr>
          <a:xfrm>
            <a:off x="10251347" y="4773236"/>
            <a:ext cx="1008000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200" b="1" dirty="0">
                <a:solidFill>
                  <a:srgbClr val="002060"/>
                </a:solidFill>
              </a:rPr>
              <a:t>31,2</a:t>
            </a:r>
          </a:p>
        </p:txBody>
      </p:sp>
      <p:sp>
        <p:nvSpPr>
          <p:cNvPr id="126" name="CaixaDeTexto 125"/>
          <p:cNvSpPr txBox="1"/>
          <p:nvPr/>
        </p:nvSpPr>
        <p:spPr>
          <a:xfrm>
            <a:off x="4849884" y="5165249"/>
            <a:ext cx="5328000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pt-BR" sz="1200" dirty="0">
                <a:solidFill>
                  <a:srgbClr val="002060"/>
                </a:solidFill>
              </a:rPr>
              <a:t>Intensidade de Emissões de Gases de Efeito Estufa, por </a:t>
            </a:r>
            <a:r>
              <a:rPr lang="pt-BR" sz="1200" dirty="0" err="1">
                <a:solidFill>
                  <a:srgbClr val="002060"/>
                </a:solidFill>
              </a:rPr>
              <a:t>MWh</a:t>
            </a:r>
            <a:endParaRPr lang="pt-BR" sz="1200" dirty="0">
              <a:solidFill>
                <a:srgbClr val="002060"/>
              </a:solidFill>
            </a:endParaRPr>
          </a:p>
        </p:txBody>
      </p:sp>
      <p:sp>
        <p:nvSpPr>
          <p:cNvPr id="127" name="CaixaDeTexto 126"/>
          <p:cNvSpPr txBox="1"/>
          <p:nvPr/>
        </p:nvSpPr>
        <p:spPr>
          <a:xfrm>
            <a:off x="10251347" y="5165249"/>
            <a:ext cx="1008000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200" b="1" dirty="0">
                <a:solidFill>
                  <a:srgbClr val="002060"/>
                </a:solidFill>
              </a:rPr>
              <a:t>0,001</a:t>
            </a:r>
          </a:p>
        </p:txBody>
      </p:sp>
      <p:sp>
        <p:nvSpPr>
          <p:cNvPr id="128" name="CaixaDeTexto 127"/>
          <p:cNvSpPr txBox="1"/>
          <p:nvPr/>
        </p:nvSpPr>
        <p:spPr>
          <a:xfrm>
            <a:off x="4849884" y="5530772"/>
            <a:ext cx="5328000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pt-BR" sz="1200" dirty="0">
                <a:solidFill>
                  <a:srgbClr val="002060"/>
                </a:solidFill>
              </a:rPr>
              <a:t>Fornecedores submetidos a </a:t>
            </a:r>
            <a:r>
              <a:rPr lang="pt-BR" sz="1200" dirty="0" err="1">
                <a:solidFill>
                  <a:srgbClr val="002060"/>
                </a:solidFill>
              </a:rPr>
              <a:t>Due</a:t>
            </a:r>
            <a:r>
              <a:rPr lang="pt-BR" sz="1200" dirty="0">
                <a:solidFill>
                  <a:srgbClr val="002060"/>
                </a:solidFill>
              </a:rPr>
              <a:t> </a:t>
            </a:r>
            <a:r>
              <a:rPr lang="pt-BR" sz="1200" dirty="0" err="1">
                <a:solidFill>
                  <a:srgbClr val="002060"/>
                </a:solidFill>
              </a:rPr>
              <a:t>Diligence</a:t>
            </a:r>
            <a:r>
              <a:rPr lang="pt-BR" sz="1200" dirty="0">
                <a:solidFill>
                  <a:srgbClr val="002060"/>
                </a:solidFill>
              </a:rPr>
              <a:t> nos aspectos ESG</a:t>
            </a:r>
          </a:p>
        </p:txBody>
      </p:sp>
      <p:sp>
        <p:nvSpPr>
          <p:cNvPr id="129" name="CaixaDeTexto 128"/>
          <p:cNvSpPr txBox="1"/>
          <p:nvPr/>
        </p:nvSpPr>
        <p:spPr>
          <a:xfrm>
            <a:off x="10251347" y="5530772"/>
            <a:ext cx="1008000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200" b="1" dirty="0">
                <a:solidFill>
                  <a:srgbClr val="002060"/>
                </a:solidFill>
              </a:rPr>
              <a:t>100%</a:t>
            </a:r>
          </a:p>
        </p:txBody>
      </p:sp>
      <p:sp>
        <p:nvSpPr>
          <p:cNvPr id="136" name="CaixaDeTexto 135"/>
          <p:cNvSpPr txBox="1"/>
          <p:nvPr/>
        </p:nvSpPr>
        <p:spPr>
          <a:xfrm>
            <a:off x="4849884" y="5896295"/>
            <a:ext cx="5328000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pt-BR" sz="1200" dirty="0">
                <a:solidFill>
                  <a:srgbClr val="002060"/>
                </a:solidFill>
              </a:rPr>
              <a:t>Força de Trabalho treinada em Direitos Humanos</a:t>
            </a:r>
          </a:p>
        </p:txBody>
      </p:sp>
      <p:sp>
        <p:nvSpPr>
          <p:cNvPr id="137" name="CaixaDeTexto 136"/>
          <p:cNvSpPr txBox="1"/>
          <p:nvPr/>
        </p:nvSpPr>
        <p:spPr>
          <a:xfrm>
            <a:off x="10251347" y="5896295"/>
            <a:ext cx="1008000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200" b="1" dirty="0">
                <a:solidFill>
                  <a:srgbClr val="002060"/>
                </a:solidFill>
              </a:rPr>
              <a:t>75%</a:t>
            </a:r>
          </a:p>
        </p:txBody>
      </p:sp>
      <p:sp>
        <p:nvSpPr>
          <p:cNvPr id="138" name="CaixaDeTexto 137"/>
          <p:cNvSpPr txBox="1"/>
          <p:nvPr/>
        </p:nvSpPr>
        <p:spPr>
          <a:xfrm>
            <a:off x="4849884" y="2893555"/>
            <a:ext cx="5328000" cy="307777"/>
          </a:xfrm>
          <a:prstGeom prst="rect">
            <a:avLst/>
          </a:prstGeom>
          <a:solidFill>
            <a:srgbClr val="5FA543"/>
          </a:solidFill>
        </p:spPr>
        <p:txBody>
          <a:bodyPr wrap="square" rtlCol="0">
            <a:spAutoFit/>
          </a:bodyPr>
          <a:lstStyle/>
          <a:p>
            <a:r>
              <a:rPr lang="pt-BR" sz="1400" b="1" dirty="0">
                <a:solidFill>
                  <a:schemeClr val="bg1"/>
                </a:solidFill>
              </a:rPr>
              <a:t>Indicadores Monitorados pela Eletronuclear</a:t>
            </a:r>
          </a:p>
        </p:txBody>
      </p:sp>
      <p:sp>
        <p:nvSpPr>
          <p:cNvPr id="139" name="CaixaDeTexto 138"/>
          <p:cNvSpPr txBox="1"/>
          <p:nvPr/>
        </p:nvSpPr>
        <p:spPr>
          <a:xfrm>
            <a:off x="10251347" y="2893555"/>
            <a:ext cx="1008000" cy="307777"/>
          </a:xfrm>
          <a:prstGeom prst="rect">
            <a:avLst/>
          </a:prstGeom>
          <a:solidFill>
            <a:srgbClr val="5FA543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>
                <a:solidFill>
                  <a:schemeClr val="bg1"/>
                </a:solidFill>
              </a:rPr>
              <a:t>Meta 2022</a:t>
            </a:r>
          </a:p>
        </p:txBody>
      </p:sp>
      <p:sp>
        <p:nvSpPr>
          <p:cNvPr id="140" name="CaixaDeTexto 139"/>
          <p:cNvSpPr txBox="1"/>
          <p:nvPr/>
        </p:nvSpPr>
        <p:spPr>
          <a:xfrm>
            <a:off x="657460" y="1160498"/>
            <a:ext cx="479821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dirty="0">
                <a:solidFill>
                  <a:srgbClr val="002060"/>
                </a:solidFill>
              </a:rPr>
              <a:t>Sustentabilidade é um diretriz importante para o negócio da Eletronuclear.</a:t>
            </a:r>
          </a:p>
        </p:txBody>
      </p:sp>
      <p:grpSp>
        <p:nvGrpSpPr>
          <p:cNvPr id="141" name="Grupo 6"/>
          <p:cNvGrpSpPr/>
          <p:nvPr/>
        </p:nvGrpSpPr>
        <p:grpSpPr>
          <a:xfrm>
            <a:off x="877249" y="3125902"/>
            <a:ext cx="3291261" cy="2761375"/>
            <a:chOff x="1063443" y="3222885"/>
            <a:chExt cx="3471999" cy="3007569"/>
          </a:xfrm>
        </p:grpSpPr>
        <p:pic>
          <p:nvPicPr>
            <p:cNvPr id="142" name="Imagem 141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115967" y="3287229"/>
              <a:ext cx="3419475" cy="2943225"/>
            </a:xfrm>
            <a:prstGeom prst="rect">
              <a:avLst/>
            </a:prstGeom>
          </p:spPr>
        </p:pic>
        <p:sp>
          <p:nvSpPr>
            <p:cNvPr id="143" name="Retângulo 142"/>
            <p:cNvSpPr/>
            <p:nvPr/>
          </p:nvSpPr>
          <p:spPr>
            <a:xfrm>
              <a:off x="1063443" y="3222885"/>
              <a:ext cx="1050170" cy="2549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pic>
        <p:nvPicPr>
          <p:cNvPr id="27" name="Imagem 26" descr="https://www.eletronuclear.gov.br/Sociedade-e-Meio-Ambiente/PublishingImages/Portal%20Sustentabilidade/i7.pn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2784" y="1957186"/>
            <a:ext cx="631767" cy="642749"/>
          </a:xfrm>
          <a:prstGeom prst="rect">
            <a:avLst/>
          </a:prstGeom>
          <a:noFill/>
          <a:ln>
            <a:noFill/>
          </a:ln>
        </p:spPr>
      </p:pic>
      <p:pic>
        <p:nvPicPr>
          <p:cNvPr id="28" name="Imagem 27" descr="https://www.eletronuclear.gov.br/Sociedade-e-Meio-Ambiente/PublishingImages/Portal%20Sustentabilidade/i8.pn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9438" y="1948658"/>
            <a:ext cx="631768" cy="642749"/>
          </a:xfrm>
          <a:prstGeom prst="rect">
            <a:avLst/>
          </a:prstGeom>
          <a:noFill/>
          <a:ln>
            <a:noFill/>
          </a:ln>
        </p:spPr>
      </p:pic>
      <p:pic>
        <p:nvPicPr>
          <p:cNvPr id="29" name="Imagem 28" descr="https://www.eletronuclear.gov.br/Sociedade-e-Meio-Ambiente/PublishingImages/Portal%20Sustentabilidade/i9.png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6093" y="1948658"/>
            <a:ext cx="631768" cy="642749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72748" y="1948658"/>
            <a:ext cx="601992" cy="642749"/>
          </a:xfrm>
          <a:prstGeom prst="rect">
            <a:avLst/>
          </a:prstGeom>
        </p:spPr>
      </p:pic>
      <p:pic>
        <p:nvPicPr>
          <p:cNvPr id="31" name="Imagem 30" descr="https://www.eletronuclear.gov.br/Sociedade-e-Meio-Ambiente/PublishingImages/Portal%20Sustentabilidade/i11.png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9627" y="1948658"/>
            <a:ext cx="533753" cy="642749"/>
          </a:xfrm>
          <a:prstGeom prst="rect">
            <a:avLst/>
          </a:prstGeom>
          <a:noFill/>
          <a:ln>
            <a:noFill/>
          </a:ln>
        </p:spPr>
      </p:pic>
      <p:pic>
        <p:nvPicPr>
          <p:cNvPr id="32" name="Imagem 31" descr="https://www.eletronuclear.gov.br/Sociedade-e-Meio-Ambiente/PublishingImages/Portal%20Sustentabilidade/i12.png"/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8267" y="1948657"/>
            <a:ext cx="558691" cy="651277"/>
          </a:xfrm>
          <a:prstGeom prst="rect">
            <a:avLst/>
          </a:prstGeom>
          <a:noFill/>
          <a:ln>
            <a:noFill/>
          </a:ln>
        </p:spPr>
      </p:pic>
      <p:pic>
        <p:nvPicPr>
          <p:cNvPr id="33" name="Imagem 32" descr="https://www.eletronuclear.gov.br/Sociedade-e-Meio-Ambiente/PublishingImages/Portal%20Sustentabilidade/i15.png"/>
          <p:cNvPicPr/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5172" y="1948657"/>
            <a:ext cx="595313" cy="642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4" name="Imagem 33" descr="https://www.eletronuclear.gov.br/Sociedade-e-Meio-Ambiente/PublishingImages/Portal%20Sustentabilidade/i16.png"/>
          <p:cNvPicPr/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15890" y="1940130"/>
            <a:ext cx="661474" cy="659804"/>
          </a:xfrm>
          <a:prstGeom prst="rect">
            <a:avLst/>
          </a:prstGeom>
          <a:noFill/>
          <a:ln>
            <a:noFill/>
          </a:ln>
        </p:spPr>
      </p:pic>
      <p:sp>
        <p:nvSpPr>
          <p:cNvPr id="35" name="CaixaDeTexto 34">
            <a:extLst>
              <a:ext uri="{FF2B5EF4-FFF2-40B4-BE49-F238E27FC236}">
                <a16:creationId xmlns:a16="http://schemas.microsoft.com/office/drawing/2014/main" id="{C536EB41-CB07-497A-B92F-B6EE5BCBF4FF}"/>
              </a:ext>
            </a:extLst>
          </p:cNvPr>
          <p:cNvSpPr txBox="1"/>
          <p:nvPr/>
        </p:nvSpPr>
        <p:spPr>
          <a:xfrm>
            <a:off x="4869764" y="3246012"/>
            <a:ext cx="5328000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pt-BR" sz="1200" dirty="0">
                <a:solidFill>
                  <a:srgbClr val="002060"/>
                </a:solidFill>
              </a:rPr>
              <a:t>Percentual de Energia Gerada por Fonte Limpa (%)</a:t>
            </a: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92DA511E-A75B-4DE0-9DAA-E0B4E3D2534C}"/>
              </a:ext>
            </a:extLst>
          </p:cNvPr>
          <p:cNvSpPr txBox="1"/>
          <p:nvPr/>
        </p:nvSpPr>
        <p:spPr>
          <a:xfrm>
            <a:off x="10271227" y="3246012"/>
            <a:ext cx="1008000" cy="276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1200" b="1" dirty="0">
                <a:solidFill>
                  <a:srgbClr val="002060"/>
                </a:solidFill>
              </a:rPr>
              <a:t>100%</a:t>
            </a:r>
          </a:p>
        </p:txBody>
      </p:sp>
    </p:spTree>
    <p:extLst>
      <p:ext uri="{BB962C8B-B14F-4D97-AF65-F5344CB8AC3E}">
        <p14:creationId xmlns:p14="http://schemas.microsoft.com/office/powerpoint/2010/main" val="18347276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131885" y="6427176"/>
            <a:ext cx="6638192" cy="3604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8" name="Retângulo 37">
            <a:extLst>
              <a:ext uri="{FF2B5EF4-FFF2-40B4-BE49-F238E27FC236}">
                <a16:creationId xmlns:a16="http://schemas.microsoft.com/office/drawing/2014/main" id="{E909F5CD-9798-4033-B7CF-D6F4E4F93423}"/>
              </a:ext>
            </a:extLst>
          </p:cNvPr>
          <p:cNvSpPr/>
          <p:nvPr/>
        </p:nvSpPr>
        <p:spPr>
          <a:xfrm>
            <a:off x="655768" y="336173"/>
            <a:ext cx="1084722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13B6DE">
                    <a:lumMod val="50000"/>
                  </a:srgbClr>
                </a:solidFill>
                <a:effectLst/>
                <a:uLnTx/>
                <a:uFillTx/>
                <a:latin typeface="Helvetica" panose="020B0604020202020204" pitchFamily="34" charset="0"/>
                <a:cs typeface="Helvetica" panose="020B0604020202020204" pitchFamily="34" charset="0"/>
              </a:rPr>
              <a:t>INDICADORES DE AGENDA 2030</a:t>
            </a:r>
          </a:p>
        </p:txBody>
      </p:sp>
      <p:sp>
        <p:nvSpPr>
          <p:cNvPr id="51" name="Retângulo 50">
            <a:extLst>
              <a:ext uri="{FF2B5EF4-FFF2-40B4-BE49-F238E27FC236}">
                <a16:creationId xmlns:a16="http://schemas.microsoft.com/office/drawing/2014/main" id="{19091F6D-3EB4-442B-A1C1-B56CA01F0F21}"/>
              </a:ext>
            </a:extLst>
          </p:cNvPr>
          <p:cNvSpPr/>
          <p:nvPr/>
        </p:nvSpPr>
        <p:spPr>
          <a:xfrm>
            <a:off x="317928" y="3203614"/>
            <a:ext cx="2664000" cy="35411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0" rIns="0" bIns="0" anchor="ctr" anchorCtr="0">
            <a:noAutofit/>
          </a:bodyPr>
          <a:lstStyle/>
          <a:p>
            <a:pPr marL="216000" lvl="0" defTabSz="457200">
              <a:defRPr/>
            </a:pPr>
            <a:r>
              <a:rPr lang="pt-BR" sz="1050" b="1" dirty="0">
                <a:solidFill>
                  <a:srgbClr val="00639C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DS 10 </a:t>
            </a:r>
            <a:r>
              <a:rPr lang="pt-BR" sz="900" b="1" dirty="0">
                <a:solidFill>
                  <a:schemeClr val="tx1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REDUÇÃO DAS DESIGUALDADES</a:t>
            </a:r>
          </a:p>
        </p:txBody>
      </p:sp>
      <p:sp>
        <p:nvSpPr>
          <p:cNvPr id="52" name="Retângulo 51">
            <a:extLst>
              <a:ext uri="{FF2B5EF4-FFF2-40B4-BE49-F238E27FC236}">
                <a16:creationId xmlns:a16="http://schemas.microsoft.com/office/drawing/2014/main" id="{697F43E1-D383-4131-9DDC-8BEF43DAA1F9}"/>
              </a:ext>
            </a:extLst>
          </p:cNvPr>
          <p:cNvSpPr/>
          <p:nvPr/>
        </p:nvSpPr>
        <p:spPr>
          <a:xfrm>
            <a:off x="3130016" y="3197725"/>
            <a:ext cx="4068000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lIns="108000" tIns="36000" rIns="36000" bIns="36000" anchor="ctr" anchorCtr="0">
            <a:noAutofit/>
          </a:bodyPr>
          <a:lstStyle/>
          <a:p>
            <a:pPr lvl="0" defTabSz="457200">
              <a:defRPr/>
            </a:pPr>
            <a:r>
              <a:rPr lang="pt-BR" sz="900" dirty="0">
                <a:solidFill>
                  <a:schemeClr val="tx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Índice Consolidado de Diversidade nas Posições Gerenciais e 	Processos Sucessórios</a:t>
            </a:r>
          </a:p>
        </p:txBody>
      </p:sp>
      <p:sp>
        <p:nvSpPr>
          <p:cNvPr id="53" name="Retângulo 52">
            <a:extLst>
              <a:ext uri="{FF2B5EF4-FFF2-40B4-BE49-F238E27FC236}">
                <a16:creationId xmlns:a16="http://schemas.microsoft.com/office/drawing/2014/main" id="{52891D16-66CA-4733-93E6-9077CC5B4E07}"/>
              </a:ext>
            </a:extLst>
          </p:cNvPr>
          <p:cNvSpPr/>
          <p:nvPr/>
        </p:nvSpPr>
        <p:spPr>
          <a:xfrm>
            <a:off x="8620555" y="3199204"/>
            <a:ext cx="1137600" cy="360000"/>
          </a:xfrm>
          <a:prstGeom prst="rect">
            <a:avLst/>
          </a:prstGeom>
          <a:solidFill>
            <a:srgbClr val="00B050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none" lIns="108000" tIns="36000" rIns="36000" bIns="36000" anchor="ctr" anchorCtr="0">
            <a:noAutofit/>
          </a:bodyPr>
          <a:lstStyle/>
          <a:p>
            <a:pPr marR="0" lvl="0" algn="ctr" defTabSz="4572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33,54</a:t>
            </a:r>
          </a:p>
        </p:txBody>
      </p:sp>
      <p:sp>
        <p:nvSpPr>
          <p:cNvPr id="55" name="Retângulo 54">
            <a:extLst>
              <a:ext uri="{FF2B5EF4-FFF2-40B4-BE49-F238E27FC236}">
                <a16:creationId xmlns:a16="http://schemas.microsoft.com/office/drawing/2014/main" id="{52891D16-66CA-4733-93E6-9077CC5B4E07}"/>
              </a:ext>
            </a:extLst>
          </p:cNvPr>
          <p:cNvSpPr/>
          <p:nvPr/>
        </p:nvSpPr>
        <p:spPr>
          <a:xfrm>
            <a:off x="9806829" y="3206512"/>
            <a:ext cx="1137600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none" lIns="108000" tIns="36000" rIns="36000" bIns="36000" anchor="ctr" anchorCtr="0">
            <a:noAutofit/>
          </a:bodyPr>
          <a:lstStyle/>
          <a:p>
            <a:pPr marR="0" lvl="0" algn="ctr" defTabSz="4572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31,20</a:t>
            </a:r>
          </a:p>
        </p:txBody>
      </p:sp>
      <p:sp>
        <p:nvSpPr>
          <p:cNvPr id="56" name="Retângulo 55">
            <a:extLst>
              <a:ext uri="{FF2B5EF4-FFF2-40B4-BE49-F238E27FC236}">
                <a16:creationId xmlns:a16="http://schemas.microsoft.com/office/drawing/2014/main" id="{52891D16-66CA-4733-93E6-9077CC5B4E07}"/>
              </a:ext>
            </a:extLst>
          </p:cNvPr>
          <p:cNvSpPr/>
          <p:nvPr/>
        </p:nvSpPr>
        <p:spPr>
          <a:xfrm>
            <a:off x="10994949" y="3206512"/>
            <a:ext cx="1137600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none" lIns="108000" tIns="36000" rIns="36000" bIns="36000" anchor="ctr" anchorCtr="0">
            <a:noAutofit/>
          </a:bodyPr>
          <a:lstStyle/>
          <a:p>
            <a:pPr marR="0" lvl="0" algn="ctr" defTabSz="4572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31,2</a:t>
            </a:r>
          </a:p>
        </p:txBody>
      </p:sp>
      <p:sp>
        <p:nvSpPr>
          <p:cNvPr id="57" name="Divisa 56">
            <a:hlinkClick r:id="rId2" action="ppaction://hlinksldjump"/>
          </p:cNvPr>
          <p:cNvSpPr/>
          <p:nvPr/>
        </p:nvSpPr>
        <p:spPr>
          <a:xfrm>
            <a:off x="7033769" y="3327335"/>
            <a:ext cx="180000" cy="180000"/>
          </a:xfrm>
          <a:prstGeom prst="chevron">
            <a:avLst/>
          </a:prstGeom>
          <a:solidFill>
            <a:srgbClr val="0063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sp>
        <p:nvSpPr>
          <p:cNvPr id="58" name="Retângulo 57">
            <a:extLst>
              <a:ext uri="{FF2B5EF4-FFF2-40B4-BE49-F238E27FC236}">
                <a16:creationId xmlns:a16="http://schemas.microsoft.com/office/drawing/2014/main" id="{24F59A4F-B172-4928-A129-D74A79365F5D}"/>
              </a:ext>
            </a:extLst>
          </p:cNvPr>
          <p:cNvSpPr/>
          <p:nvPr/>
        </p:nvSpPr>
        <p:spPr>
          <a:xfrm>
            <a:off x="7426755" y="3199204"/>
            <a:ext cx="1137600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none" lIns="108000" tIns="36000" rIns="36000" bIns="36000" anchor="ctr" anchorCtr="0">
            <a:noAutofit/>
          </a:bodyPr>
          <a:lstStyle/>
          <a:p>
            <a:pPr marR="0" lvl="0" algn="ctr" defTabSz="4572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N/A</a:t>
            </a:r>
          </a:p>
        </p:txBody>
      </p:sp>
      <p:sp>
        <p:nvSpPr>
          <p:cNvPr id="59" name="Retângulo 58">
            <a:extLst>
              <a:ext uri="{FF2B5EF4-FFF2-40B4-BE49-F238E27FC236}">
                <a16:creationId xmlns:a16="http://schemas.microsoft.com/office/drawing/2014/main" id="{19091F6D-3EB4-442B-A1C1-B56CA01F0F21}"/>
              </a:ext>
            </a:extLst>
          </p:cNvPr>
          <p:cNvSpPr/>
          <p:nvPr/>
        </p:nvSpPr>
        <p:spPr>
          <a:xfrm>
            <a:off x="317928" y="4064907"/>
            <a:ext cx="2664000" cy="35411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0" rIns="0" bIns="0" anchor="ctr" anchorCtr="0">
            <a:noAutofit/>
          </a:bodyPr>
          <a:lstStyle/>
          <a:p>
            <a:pPr marL="216000" lvl="0" defTabSz="457200">
              <a:defRPr/>
            </a:pPr>
            <a:r>
              <a:rPr lang="pt-BR" sz="1050" b="1" dirty="0">
                <a:solidFill>
                  <a:srgbClr val="00639C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DS 13  </a:t>
            </a:r>
            <a:r>
              <a:rPr lang="pt-BR" sz="900" b="1" dirty="0">
                <a:solidFill>
                  <a:schemeClr val="tx1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MBATE A MUDANÇAS CLIMÁTICAS</a:t>
            </a:r>
          </a:p>
        </p:txBody>
      </p:sp>
      <p:sp>
        <p:nvSpPr>
          <p:cNvPr id="60" name="Retângulo 59">
            <a:extLst>
              <a:ext uri="{FF2B5EF4-FFF2-40B4-BE49-F238E27FC236}">
                <a16:creationId xmlns:a16="http://schemas.microsoft.com/office/drawing/2014/main" id="{697F43E1-D383-4131-9DDC-8BEF43DAA1F9}"/>
              </a:ext>
            </a:extLst>
          </p:cNvPr>
          <p:cNvSpPr/>
          <p:nvPr/>
        </p:nvSpPr>
        <p:spPr>
          <a:xfrm>
            <a:off x="3130016" y="4059018"/>
            <a:ext cx="4068000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lIns="108000" tIns="36000" rIns="36000" bIns="36000" anchor="ctr" anchorCtr="0">
            <a:noAutofit/>
          </a:bodyPr>
          <a:lstStyle/>
          <a:p>
            <a:pPr lvl="0" defTabSz="457200">
              <a:defRPr/>
            </a:pPr>
            <a:r>
              <a:rPr lang="pt-BR" sz="900" dirty="0">
                <a:solidFill>
                  <a:schemeClr val="tx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ntensidade de Emissões de Gases de Efeito Estufa (tCO2/</a:t>
            </a:r>
            <a:r>
              <a:rPr lang="pt-BR" sz="900" dirty="0" err="1">
                <a:solidFill>
                  <a:schemeClr val="tx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Wh</a:t>
            </a:r>
            <a:r>
              <a:rPr lang="pt-BR" sz="900" dirty="0">
                <a:solidFill>
                  <a:schemeClr val="tx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)</a:t>
            </a:r>
            <a:r>
              <a:rPr lang="pt-BR" sz="900" dirty="0">
                <a:solidFill>
                  <a:srgbClr val="00639C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pt-BR" sz="900" dirty="0">
                <a:solidFill>
                  <a:schemeClr val="tx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  </a:t>
            </a:r>
            <a:r>
              <a:rPr lang="pt-BR" sz="900" b="1" dirty="0">
                <a:solidFill>
                  <a:srgbClr val="FF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(RVA)</a:t>
            </a:r>
            <a:endParaRPr lang="pt-BR" sz="900" dirty="0">
              <a:solidFill>
                <a:schemeClr val="tx1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1" name="Retângulo 60">
            <a:extLst>
              <a:ext uri="{FF2B5EF4-FFF2-40B4-BE49-F238E27FC236}">
                <a16:creationId xmlns:a16="http://schemas.microsoft.com/office/drawing/2014/main" id="{52891D16-66CA-4733-93E6-9077CC5B4E07}"/>
              </a:ext>
            </a:extLst>
          </p:cNvPr>
          <p:cNvSpPr/>
          <p:nvPr/>
        </p:nvSpPr>
        <p:spPr>
          <a:xfrm>
            <a:off x="8633637" y="4060497"/>
            <a:ext cx="1124518" cy="360000"/>
          </a:xfrm>
          <a:prstGeom prst="rect">
            <a:avLst/>
          </a:prstGeom>
          <a:solidFill>
            <a:srgbClr val="00B050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none" lIns="108000" tIns="36000" rIns="36000" bIns="36000" anchor="ctr" anchorCtr="0">
            <a:noAutofit/>
          </a:bodyPr>
          <a:lstStyle/>
          <a:p>
            <a:pPr marR="0" lvl="0" algn="ctr" defTabSz="4572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0,0003</a:t>
            </a:r>
          </a:p>
        </p:txBody>
      </p:sp>
      <p:sp>
        <p:nvSpPr>
          <p:cNvPr id="63" name="Retângulo 62">
            <a:extLst>
              <a:ext uri="{FF2B5EF4-FFF2-40B4-BE49-F238E27FC236}">
                <a16:creationId xmlns:a16="http://schemas.microsoft.com/office/drawing/2014/main" id="{52891D16-66CA-4733-93E6-9077CC5B4E07}"/>
              </a:ext>
            </a:extLst>
          </p:cNvPr>
          <p:cNvSpPr/>
          <p:nvPr/>
        </p:nvSpPr>
        <p:spPr>
          <a:xfrm>
            <a:off x="9806829" y="4067805"/>
            <a:ext cx="1137600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none" lIns="108000" tIns="36000" rIns="36000" bIns="36000" anchor="ctr" anchorCtr="0">
            <a:noAutofit/>
          </a:bodyPr>
          <a:lstStyle/>
          <a:p>
            <a:pPr marR="0" lvl="0" algn="ctr" defTabSz="4572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0,001</a:t>
            </a:r>
          </a:p>
        </p:txBody>
      </p:sp>
      <p:sp>
        <p:nvSpPr>
          <p:cNvPr id="64" name="Retângulo 63">
            <a:extLst>
              <a:ext uri="{FF2B5EF4-FFF2-40B4-BE49-F238E27FC236}">
                <a16:creationId xmlns:a16="http://schemas.microsoft.com/office/drawing/2014/main" id="{52891D16-66CA-4733-93E6-9077CC5B4E07}"/>
              </a:ext>
            </a:extLst>
          </p:cNvPr>
          <p:cNvSpPr/>
          <p:nvPr/>
        </p:nvSpPr>
        <p:spPr>
          <a:xfrm>
            <a:off x="10994949" y="4067805"/>
            <a:ext cx="1137600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none" lIns="108000" tIns="36000" rIns="36000" bIns="36000" anchor="ctr" anchorCtr="0">
            <a:noAutofit/>
          </a:bodyPr>
          <a:lstStyle/>
          <a:p>
            <a:pPr marR="0" lvl="0" algn="ctr" defTabSz="4572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0,001</a:t>
            </a:r>
          </a:p>
        </p:txBody>
      </p:sp>
      <p:sp>
        <p:nvSpPr>
          <p:cNvPr id="65" name="Divisa 64">
            <a:hlinkClick r:id="rId3" action="ppaction://hlinksldjump"/>
          </p:cNvPr>
          <p:cNvSpPr/>
          <p:nvPr/>
        </p:nvSpPr>
        <p:spPr>
          <a:xfrm>
            <a:off x="7033769" y="4188628"/>
            <a:ext cx="180000" cy="180000"/>
          </a:xfrm>
          <a:prstGeom prst="chevron">
            <a:avLst/>
          </a:prstGeom>
          <a:solidFill>
            <a:srgbClr val="0063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sp>
        <p:nvSpPr>
          <p:cNvPr id="66" name="Retângulo 65">
            <a:extLst>
              <a:ext uri="{FF2B5EF4-FFF2-40B4-BE49-F238E27FC236}">
                <a16:creationId xmlns:a16="http://schemas.microsoft.com/office/drawing/2014/main" id="{24F59A4F-B172-4928-A129-D74A79365F5D}"/>
              </a:ext>
            </a:extLst>
          </p:cNvPr>
          <p:cNvSpPr/>
          <p:nvPr/>
        </p:nvSpPr>
        <p:spPr>
          <a:xfrm>
            <a:off x="7426755" y="4060497"/>
            <a:ext cx="1137600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none" lIns="108000" tIns="36000" rIns="36000" bIns="36000" anchor="ctr" anchorCtr="0">
            <a:noAutofit/>
          </a:bodyPr>
          <a:lstStyle/>
          <a:p>
            <a:pPr marR="0" lvl="0" algn="ctr" defTabSz="4572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N/A</a:t>
            </a:r>
          </a:p>
        </p:txBody>
      </p:sp>
      <p:cxnSp>
        <p:nvCxnSpPr>
          <p:cNvPr id="67" name="Conector reto 66">
            <a:extLst>
              <a:ext uri="{FF2B5EF4-FFF2-40B4-BE49-F238E27FC236}">
                <a16:creationId xmlns:a16="http://schemas.microsoft.com/office/drawing/2014/main" id="{51A68147-B35A-4E5E-A1B2-4E9A939667F9}"/>
              </a:ext>
            </a:extLst>
          </p:cNvPr>
          <p:cNvCxnSpPr>
            <a:cxnSpLocks/>
          </p:cNvCxnSpPr>
          <p:nvPr/>
        </p:nvCxnSpPr>
        <p:spPr>
          <a:xfrm>
            <a:off x="7219853" y="3386615"/>
            <a:ext cx="216000" cy="0"/>
          </a:xfrm>
          <a:prstGeom prst="line">
            <a:avLst/>
          </a:prstGeom>
          <a:ln w="9525">
            <a:solidFill>
              <a:srgbClr val="00639C"/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tângulo 67">
            <a:extLst>
              <a:ext uri="{FF2B5EF4-FFF2-40B4-BE49-F238E27FC236}">
                <a16:creationId xmlns:a16="http://schemas.microsoft.com/office/drawing/2014/main" id="{19091F6D-3EB4-442B-A1C1-B56CA01F0F21}"/>
              </a:ext>
            </a:extLst>
          </p:cNvPr>
          <p:cNvSpPr/>
          <p:nvPr/>
        </p:nvSpPr>
        <p:spPr>
          <a:xfrm>
            <a:off x="316140" y="3619958"/>
            <a:ext cx="2664000" cy="35411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0" rIns="0" bIns="0" anchor="ctr" anchorCtr="0">
            <a:noAutofit/>
          </a:bodyPr>
          <a:lstStyle/>
          <a:p>
            <a:pPr marL="216000" defTabSz="457200">
              <a:defRPr/>
            </a:pPr>
            <a:r>
              <a:rPr lang="pt-BR" sz="1050" b="1" dirty="0">
                <a:solidFill>
                  <a:srgbClr val="00639C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DS 12  </a:t>
            </a:r>
            <a:r>
              <a:rPr lang="pt-BR" sz="900" b="1" dirty="0">
                <a:solidFill>
                  <a:schemeClr val="tx1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NSUMO E PRODUÇÃO SUSTENTÁVEL</a:t>
            </a:r>
          </a:p>
        </p:txBody>
      </p:sp>
      <p:sp>
        <p:nvSpPr>
          <p:cNvPr id="69" name="Retângulo 68">
            <a:extLst>
              <a:ext uri="{FF2B5EF4-FFF2-40B4-BE49-F238E27FC236}">
                <a16:creationId xmlns:a16="http://schemas.microsoft.com/office/drawing/2014/main" id="{697F43E1-D383-4131-9DDC-8BEF43DAA1F9}"/>
              </a:ext>
            </a:extLst>
          </p:cNvPr>
          <p:cNvSpPr/>
          <p:nvPr/>
        </p:nvSpPr>
        <p:spPr>
          <a:xfrm>
            <a:off x="3128228" y="3614069"/>
            <a:ext cx="4068000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lIns="108000" tIns="36000" rIns="36000" bIns="36000" anchor="ctr" anchorCtr="0">
            <a:noAutofit/>
          </a:bodyPr>
          <a:lstStyle/>
          <a:p>
            <a:pPr lvl="0" defTabSz="457200">
              <a:defRPr/>
            </a:pPr>
            <a:r>
              <a:rPr lang="pt-BR" sz="900" dirty="0">
                <a:solidFill>
                  <a:schemeClr val="tx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ornecedores submetidos a </a:t>
            </a:r>
            <a:r>
              <a:rPr lang="pt-BR" sz="900" dirty="0" err="1">
                <a:solidFill>
                  <a:schemeClr val="tx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ue</a:t>
            </a:r>
            <a:r>
              <a:rPr lang="pt-BR" sz="900" dirty="0">
                <a:solidFill>
                  <a:schemeClr val="tx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pt-BR" sz="900" dirty="0" err="1">
                <a:solidFill>
                  <a:schemeClr val="tx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iligence</a:t>
            </a:r>
            <a:r>
              <a:rPr lang="pt-BR" sz="900" dirty="0">
                <a:solidFill>
                  <a:schemeClr val="tx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nos aspectos ESG </a:t>
            </a:r>
            <a:r>
              <a:rPr lang="pt-BR" sz="900" b="1" dirty="0">
                <a:solidFill>
                  <a:srgbClr val="FF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       (RVA)</a:t>
            </a:r>
            <a:endParaRPr lang="pt-BR" sz="900" dirty="0">
              <a:solidFill>
                <a:schemeClr val="tx1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0" name="Retângulo 69">
            <a:extLst>
              <a:ext uri="{FF2B5EF4-FFF2-40B4-BE49-F238E27FC236}">
                <a16:creationId xmlns:a16="http://schemas.microsoft.com/office/drawing/2014/main" id="{52891D16-66CA-4733-93E6-9077CC5B4E07}"/>
              </a:ext>
            </a:extLst>
          </p:cNvPr>
          <p:cNvSpPr/>
          <p:nvPr/>
        </p:nvSpPr>
        <p:spPr>
          <a:xfrm>
            <a:off x="8608135" y="3615548"/>
            <a:ext cx="1137600" cy="360000"/>
          </a:xfrm>
          <a:prstGeom prst="rect">
            <a:avLst/>
          </a:prstGeom>
          <a:solidFill>
            <a:srgbClr val="00B050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none" lIns="108000" tIns="36000" rIns="36000" bIns="36000" anchor="ctr" anchorCtr="0">
            <a:noAutofit/>
          </a:bodyPr>
          <a:lstStyle/>
          <a:p>
            <a:pPr marR="0" lvl="0" algn="ctr" defTabSz="4572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00%</a:t>
            </a:r>
          </a:p>
        </p:txBody>
      </p:sp>
      <p:sp>
        <p:nvSpPr>
          <p:cNvPr id="71" name="Retângulo 70">
            <a:extLst>
              <a:ext uri="{FF2B5EF4-FFF2-40B4-BE49-F238E27FC236}">
                <a16:creationId xmlns:a16="http://schemas.microsoft.com/office/drawing/2014/main" id="{52891D16-66CA-4733-93E6-9077CC5B4E07}"/>
              </a:ext>
            </a:extLst>
          </p:cNvPr>
          <p:cNvSpPr/>
          <p:nvPr/>
        </p:nvSpPr>
        <p:spPr>
          <a:xfrm>
            <a:off x="9805041" y="3622856"/>
            <a:ext cx="1137600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none" lIns="108000" tIns="36000" rIns="36000" bIns="36000" anchor="ctr" anchorCtr="0">
            <a:noAutofit/>
          </a:bodyPr>
          <a:lstStyle/>
          <a:p>
            <a:pPr marR="0" lvl="0" algn="ctr" defTabSz="4572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00%</a:t>
            </a:r>
          </a:p>
        </p:txBody>
      </p:sp>
      <p:sp>
        <p:nvSpPr>
          <p:cNvPr id="72" name="Retângulo 71">
            <a:extLst>
              <a:ext uri="{FF2B5EF4-FFF2-40B4-BE49-F238E27FC236}">
                <a16:creationId xmlns:a16="http://schemas.microsoft.com/office/drawing/2014/main" id="{52891D16-66CA-4733-93E6-9077CC5B4E07}"/>
              </a:ext>
            </a:extLst>
          </p:cNvPr>
          <p:cNvSpPr/>
          <p:nvPr/>
        </p:nvSpPr>
        <p:spPr>
          <a:xfrm>
            <a:off x="10993161" y="3622856"/>
            <a:ext cx="1137600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none" lIns="108000" tIns="36000" rIns="36000" bIns="36000" anchor="ctr" anchorCtr="0">
            <a:noAutofit/>
          </a:bodyPr>
          <a:lstStyle/>
          <a:p>
            <a:pPr marR="0" lvl="0" algn="ctr" defTabSz="4572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00%</a:t>
            </a:r>
          </a:p>
        </p:txBody>
      </p:sp>
      <p:sp>
        <p:nvSpPr>
          <p:cNvPr id="73" name="Divisa 72">
            <a:hlinkClick r:id="rId2" action="ppaction://hlinksldjump"/>
          </p:cNvPr>
          <p:cNvSpPr/>
          <p:nvPr/>
        </p:nvSpPr>
        <p:spPr>
          <a:xfrm>
            <a:off x="7031981" y="3743679"/>
            <a:ext cx="180000" cy="180000"/>
          </a:xfrm>
          <a:prstGeom prst="chevron">
            <a:avLst/>
          </a:prstGeom>
          <a:solidFill>
            <a:srgbClr val="0063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sp>
        <p:nvSpPr>
          <p:cNvPr id="74" name="Retângulo 73">
            <a:extLst>
              <a:ext uri="{FF2B5EF4-FFF2-40B4-BE49-F238E27FC236}">
                <a16:creationId xmlns:a16="http://schemas.microsoft.com/office/drawing/2014/main" id="{24F59A4F-B172-4928-A129-D74A79365F5D}"/>
              </a:ext>
            </a:extLst>
          </p:cNvPr>
          <p:cNvSpPr/>
          <p:nvPr/>
        </p:nvSpPr>
        <p:spPr>
          <a:xfrm>
            <a:off x="7424967" y="3615548"/>
            <a:ext cx="1137600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none" lIns="108000" tIns="36000" rIns="36000" bIns="36000" anchor="ctr" anchorCtr="0">
            <a:noAutofit/>
          </a:bodyPr>
          <a:lstStyle/>
          <a:p>
            <a:pPr marR="0" lvl="0" algn="ctr" defTabSz="4572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95%</a:t>
            </a:r>
          </a:p>
        </p:txBody>
      </p:sp>
      <p:sp>
        <p:nvSpPr>
          <p:cNvPr id="76" name="Retângulo 75">
            <a:extLst>
              <a:ext uri="{FF2B5EF4-FFF2-40B4-BE49-F238E27FC236}">
                <a16:creationId xmlns:a16="http://schemas.microsoft.com/office/drawing/2014/main" id="{19091F6D-3EB4-442B-A1C1-B56CA01F0F21}"/>
              </a:ext>
            </a:extLst>
          </p:cNvPr>
          <p:cNvSpPr/>
          <p:nvPr/>
        </p:nvSpPr>
        <p:spPr>
          <a:xfrm>
            <a:off x="316140" y="4489993"/>
            <a:ext cx="2664000" cy="35411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0" rIns="0" bIns="0" anchor="ctr" anchorCtr="0">
            <a:noAutofit/>
          </a:bodyPr>
          <a:lstStyle/>
          <a:p>
            <a:pPr marL="216000" lvl="0" defTabSz="457200">
              <a:defRPr/>
            </a:pPr>
            <a:r>
              <a:rPr lang="pt-BR" sz="1050" b="1" dirty="0">
                <a:solidFill>
                  <a:srgbClr val="00639C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DS 16  </a:t>
            </a:r>
            <a:r>
              <a:rPr lang="pt-BR" sz="900" b="1" dirty="0">
                <a:solidFill>
                  <a:schemeClr val="tx1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AZ, JUSTIÇA E INSTITUIÇÕES FORTES</a:t>
            </a:r>
          </a:p>
        </p:txBody>
      </p:sp>
      <p:sp>
        <p:nvSpPr>
          <p:cNvPr id="77" name="Retângulo 76">
            <a:extLst>
              <a:ext uri="{FF2B5EF4-FFF2-40B4-BE49-F238E27FC236}">
                <a16:creationId xmlns:a16="http://schemas.microsoft.com/office/drawing/2014/main" id="{697F43E1-D383-4131-9DDC-8BEF43DAA1F9}"/>
              </a:ext>
            </a:extLst>
          </p:cNvPr>
          <p:cNvSpPr/>
          <p:nvPr/>
        </p:nvSpPr>
        <p:spPr>
          <a:xfrm>
            <a:off x="3128228" y="4484104"/>
            <a:ext cx="4068000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lIns="108000" tIns="36000" rIns="36000" bIns="36000" anchor="ctr" anchorCtr="0">
            <a:noAutofit/>
          </a:bodyPr>
          <a:lstStyle/>
          <a:p>
            <a:pPr lvl="0" defTabSz="457200">
              <a:defRPr/>
            </a:pPr>
            <a:r>
              <a:rPr lang="pt-BR" sz="900" dirty="0">
                <a:solidFill>
                  <a:schemeClr val="tx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orça de Trabalho treinada em Direitos Humanos</a:t>
            </a:r>
          </a:p>
        </p:txBody>
      </p:sp>
      <p:sp>
        <p:nvSpPr>
          <p:cNvPr id="78" name="Retângulo 77">
            <a:extLst>
              <a:ext uri="{FF2B5EF4-FFF2-40B4-BE49-F238E27FC236}">
                <a16:creationId xmlns:a16="http://schemas.microsoft.com/office/drawing/2014/main" id="{52891D16-66CA-4733-93E6-9077CC5B4E07}"/>
              </a:ext>
            </a:extLst>
          </p:cNvPr>
          <p:cNvSpPr/>
          <p:nvPr/>
        </p:nvSpPr>
        <p:spPr>
          <a:xfrm>
            <a:off x="8618767" y="4485583"/>
            <a:ext cx="1137600" cy="360000"/>
          </a:xfrm>
          <a:prstGeom prst="rect">
            <a:avLst/>
          </a:prstGeom>
          <a:solidFill>
            <a:srgbClr val="FF0000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none" lIns="108000" tIns="36000" rIns="36000" bIns="36000" anchor="ctr" anchorCtr="0">
            <a:noAutofit/>
          </a:bodyPr>
          <a:lstStyle/>
          <a:p>
            <a:pPr marR="0" lvl="0" algn="ctr" defTabSz="4572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28,37%</a:t>
            </a:r>
          </a:p>
        </p:txBody>
      </p:sp>
      <p:sp>
        <p:nvSpPr>
          <p:cNvPr id="80" name="Retângulo 79">
            <a:extLst>
              <a:ext uri="{FF2B5EF4-FFF2-40B4-BE49-F238E27FC236}">
                <a16:creationId xmlns:a16="http://schemas.microsoft.com/office/drawing/2014/main" id="{52891D16-66CA-4733-93E6-9077CC5B4E07}"/>
              </a:ext>
            </a:extLst>
          </p:cNvPr>
          <p:cNvSpPr/>
          <p:nvPr/>
        </p:nvSpPr>
        <p:spPr>
          <a:xfrm>
            <a:off x="9805041" y="4492891"/>
            <a:ext cx="1137600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none" lIns="108000" tIns="36000" rIns="36000" bIns="36000" anchor="ctr" anchorCtr="0">
            <a:noAutofit/>
          </a:bodyPr>
          <a:lstStyle/>
          <a:p>
            <a:pPr marR="0" lvl="0" algn="ctr" defTabSz="4572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75%</a:t>
            </a:r>
          </a:p>
        </p:txBody>
      </p:sp>
      <p:sp>
        <p:nvSpPr>
          <p:cNvPr id="116" name="Retângulo 115">
            <a:extLst>
              <a:ext uri="{FF2B5EF4-FFF2-40B4-BE49-F238E27FC236}">
                <a16:creationId xmlns:a16="http://schemas.microsoft.com/office/drawing/2014/main" id="{52891D16-66CA-4733-93E6-9077CC5B4E07}"/>
              </a:ext>
            </a:extLst>
          </p:cNvPr>
          <p:cNvSpPr/>
          <p:nvPr/>
        </p:nvSpPr>
        <p:spPr>
          <a:xfrm>
            <a:off x="10993161" y="4492891"/>
            <a:ext cx="1137600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none" lIns="108000" tIns="36000" rIns="36000" bIns="36000" anchor="ctr" anchorCtr="0">
            <a:noAutofit/>
          </a:bodyPr>
          <a:lstStyle/>
          <a:p>
            <a:pPr marR="0" lvl="0" algn="ctr" defTabSz="4572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75%</a:t>
            </a:r>
          </a:p>
        </p:txBody>
      </p:sp>
      <p:sp>
        <p:nvSpPr>
          <p:cNvPr id="117" name="Divisa 116">
            <a:hlinkClick r:id="rId3" action="ppaction://hlinksldjump"/>
          </p:cNvPr>
          <p:cNvSpPr/>
          <p:nvPr/>
        </p:nvSpPr>
        <p:spPr>
          <a:xfrm>
            <a:off x="7031981" y="4613714"/>
            <a:ext cx="180000" cy="180000"/>
          </a:xfrm>
          <a:prstGeom prst="chevron">
            <a:avLst/>
          </a:prstGeom>
          <a:solidFill>
            <a:srgbClr val="0063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sp>
        <p:nvSpPr>
          <p:cNvPr id="118" name="Retângulo 117">
            <a:extLst>
              <a:ext uri="{FF2B5EF4-FFF2-40B4-BE49-F238E27FC236}">
                <a16:creationId xmlns:a16="http://schemas.microsoft.com/office/drawing/2014/main" id="{24F59A4F-B172-4928-A129-D74A79365F5D}"/>
              </a:ext>
            </a:extLst>
          </p:cNvPr>
          <p:cNvSpPr/>
          <p:nvPr/>
        </p:nvSpPr>
        <p:spPr>
          <a:xfrm>
            <a:off x="7423179" y="4484104"/>
            <a:ext cx="1137600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none" lIns="108000" tIns="36000" rIns="36000" bIns="36000" anchor="ctr" anchorCtr="0">
            <a:noAutofit/>
          </a:bodyPr>
          <a:lstStyle/>
          <a:p>
            <a:pPr marR="0" lvl="0" algn="ctr" defTabSz="4572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28%</a:t>
            </a:r>
          </a:p>
        </p:txBody>
      </p:sp>
      <p:cxnSp>
        <p:nvCxnSpPr>
          <p:cNvPr id="120" name="Conector reto 119">
            <a:extLst>
              <a:ext uri="{FF2B5EF4-FFF2-40B4-BE49-F238E27FC236}">
                <a16:creationId xmlns:a16="http://schemas.microsoft.com/office/drawing/2014/main" id="{51A68147-B35A-4E5E-A1B2-4E9A939667F9}"/>
              </a:ext>
            </a:extLst>
          </p:cNvPr>
          <p:cNvCxnSpPr>
            <a:cxnSpLocks/>
          </p:cNvCxnSpPr>
          <p:nvPr/>
        </p:nvCxnSpPr>
        <p:spPr>
          <a:xfrm>
            <a:off x="7196228" y="3794069"/>
            <a:ext cx="216000" cy="0"/>
          </a:xfrm>
          <a:prstGeom prst="line">
            <a:avLst/>
          </a:prstGeom>
          <a:ln w="9525">
            <a:solidFill>
              <a:srgbClr val="00639C"/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Conector reto 120">
            <a:extLst>
              <a:ext uri="{FF2B5EF4-FFF2-40B4-BE49-F238E27FC236}">
                <a16:creationId xmlns:a16="http://schemas.microsoft.com/office/drawing/2014/main" id="{51A68147-B35A-4E5E-A1B2-4E9A939667F9}"/>
              </a:ext>
            </a:extLst>
          </p:cNvPr>
          <p:cNvCxnSpPr>
            <a:cxnSpLocks/>
          </p:cNvCxnSpPr>
          <p:nvPr/>
        </p:nvCxnSpPr>
        <p:spPr>
          <a:xfrm>
            <a:off x="7230013" y="4255279"/>
            <a:ext cx="216000" cy="0"/>
          </a:xfrm>
          <a:prstGeom prst="line">
            <a:avLst/>
          </a:prstGeom>
          <a:ln w="9525">
            <a:solidFill>
              <a:srgbClr val="00639C"/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Conector reto 121">
            <a:extLst>
              <a:ext uri="{FF2B5EF4-FFF2-40B4-BE49-F238E27FC236}">
                <a16:creationId xmlns:a16="http://schemas.microsoft.com/office/drawing/2014/main" id="{51A68147-B35A-4E5E-A1B2-4E9A939667F9}"/>
              </a:ext>
            </a:extLst>
          </p:cNvPr>
          <p:cNvCxnSpPr>
            <a:cxnSpLocks/>
          </p:cNvCxnSpPr>
          <p:nvPr/>
        </p:nvCxnSpPr>
        <p:spPr>
          <a:xfrm>
            <a:off x="7219853" y="4664104"/>
            <a:ext cx="216000" cy="0"/>
          </a:xfrm>
          <a:prstGeom prst="line">
            <a:avLst/>
          </a:prstGeom>
          <a:ln w="9525">
            <a:solidFill>
              <a:srgbClr val="00639C"/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tângulo 190">
            <a:extLst>
              <a:ext uri="{FF2B5EF4-FFF2-40B4-BE49-F238E27FC236}">
                <a16:creationId xmlns:a16="http://schemas.microsoft.com/office/drawing/2014/main" id="{DAD83815-969D-4B99-B283-6B05C9B95BA5}"/>
              </a:ext>
            </a:extLst>
          </p:cNvPr>
          <p:cNvSpPr/>
          <p:nvPr/>
        </p:nvSpPr>
        <p:spPr>
          <a:xfrm>
            <a:off x="3126440" y="1070686"/>
            <a:ext cx="4068000" cy="241908"/>
          </a:xfrm>
          <a:prstGeom prst="rect">
            <a:avLst/>
          </a:prstGeom>
          <a:solidFill>
            <a:srgbClr val="00639C"/>
          </a:solidFill>
        </p:spPr>
        <p:txBody>
          <a:bodyPr wrap="square" lIns="0" tIns="0" bIns="0" anchor="ctr" anchorCtr="0">
            <a:noAutofit/>
          </a:bodyPr>
          <a:lstStyle/>
          <a:p>
            <a:pPr marL="92075"/>
            <a:r>
              <a:rPr lang="pt-BR" sz="900" b="1" dirty="0">
                <a:solidFill>
                  <a:prstClr val="white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NDICADORES</a:t>
            </a:r>
          </a:p>
        </p:txBody>
      </p:sp>
      <p:sp>
        <p:nvSpPr>
          <p:cNvPr id="131" name="Retângulo 190">
            <a:extLst>
              <a:ext uri="{FF2B5EF4-FFF2-40B4-BE49-F238E27FC236}">
                <a16:creationId xmlns:a16="http://schemas.microsoft.com/office/drawing/2014/main" id="{F02FAC6B-7342-4EED-A47A-870611D8F526}"/>
              </a:ext>
            </a:extLst>
          </p:cNvPr>
          <p:cNvSpPr/>
          <p:nvPr/>
        </p:nvSpPr>
        <p:spPr>
          <a:xfrm>
            <a:off x="8616979" y="1056254"/>
            <a:ext cx="1137600" cy="241908"/>
          </a:xfrm>
          <a:prstGeom prst="rect">
            <a:avLst/>
          </a:prstGeom>
          <a:solidFill>
            <a:srgbClr val="00639C"/>
          </a:solidFill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pt-BR" sz="900" b="1" dirty="0">
                <a:solidFill>
                  <a:prstClr val="white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4T22R</a:t>
            </a:r>
          </a:p>
        </p:txBody>
      </p:sp>
      <p:sp>
        <p:nvSpPr>
          <p:cNvPr id="132" name="Retângulo 190">
            <a:extLst>
              <a:ext uri="{FF2B5EF4-FFF2-40B4-BE49-F238E27FC236}">
                <a16:creationId xmlns:a16="http://schemas.microsoft.com/office/drawing/2014/main" id="{DE48F477-E94C-401A-B4BC-5FD4A1C41121}"/>
              </a:ext>
            </a:extLst>
          </p:cNvPr>
          <p:cNvSpPr/>
          <p:nvPr/>
        </p:nvSpPr>
        <p:spPr>
          <a:xfrm>
            <a:off x="314353" y="1056254"/>
            <a:ext cx="2664000" cy="241217"/>
          </a:xfrm>
          <a:prstGeom prst="rect">
            <a:avLst/>
          </a:prstGeom>
          <a:solidFill>
            <a:srgbClr val="00639C"/>
          </a:solidFill>
        </p:spPr>
        <p:txBody>
          <a:bodyPr wrap="square" lIns="0" tIns="0" bIns="0" anchor="ctr" anchorCtr="0">
            <a:noAutofit/>
          </a:bodyPr>
          <a:lstStyle/>
          <a:p>
            <a:pPr algn="ctr"/>
            <a:r>
              <a:rPr lang="pt-BR" sz="900" b="1" dirty="0">
                <a:solidFill>
                  <a:prstClr val="white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DS CONECTADO</a:t>
            </a:r>
          </a:p>
        </p:txBody>
      </p:sp>
      <p:sp>
        <p:nvSpPr>
          <p:cNvPr id="133" name="Retângulo 190">
            <a:extLst>
              <a:ext uri="{FF2B5EF4-FFF2-40B4-BE49-F238E27FC236}">
                <a16:creationId xmlns:a16="http://schemas.microsoft.com/office/drawing/2014/main" id="{F02FAC6B-7342-4EED-A47A-870611D8F526}"/>
              </a:ext>
            </a:extLst>
          </p:cNvPr>
          <p:cNvSpPr/>
          <p:nvPr/>
        </p:nvSpPr>
        <p:spPr>
          <a:xfrm>
            <a:off x="9803253" y="1063562"/>
            <a:ext cx="1137600" cy="241908"/>
          </a:xfrm>
          <a:prstGeom prst="rect">
            <a:avLst/>
          </a:prstGeom>
          <a:solidFill>
            <a:srgbClr val="00639C"/>
          </a:solidFill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pt-BR" sz="900" b="1" dirty="0">
                <a:solidFill>
                  <a:prstClr val="white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4T22M</a:t>
            </a:r>
          </a:p>
        </p:txBody>
      </p:sp>
      <p:sp>
        <p:nvSpPr>
          <p:cNvPr id="134" name="Retângulo 190">
            <a:extLst>
              <a:ext uri="{FF2B5EF4-FFF2-40B4-BE49-F238E27FC236}">
                <a16:creationId xmlns:a16="http://schemas.microsoft.com/office/drawing/2014/main" id="{F02FAC6B-7342-4EED-A47A-870611D8F526}"/>
              </a:ext>
            </a:extLst>
          </p:cNvPr>
          <p:cNvSpPr/>
          <p:nvPr/>
        </p:nvSpPr>
        <p:spPr>
          <a:xfrm>
            <a:off x="10991373" y="1063562"/>
            <a:ext cx="1137600" cy="241908"/>
          </a:xfrm>
          <a:prstGeom prst="rect">
            <a:avLst/>
          </a:prstGeom>
          <a:solidFill>
            <a:srgbClr val="00639C"/>
          </a:solidFill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pt-BR" sz="900" b="1" dirty="0">
                <a:solidFill>
                  <a:prstClr val="white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2022M</a:t>
            </a:r>
          </a:p>
        </p:txBody>
      </p:sp>
      <p:sp>
        <p:nvSpPr>
          <p:cNvPr id="135" name="Retângulo 190">
            <a:extLst>
              <a:ext uri="{FF2B5EF4-FFF2-40B4-BE49-F238E27FC236}">
                <a16:creationId xmlns:a16="http://schemas.microsoft.com/office/drawing/2014/main" id="{A2D10B50-3005-43E8-8F7F-7737601A3601}"/>
              </a:ext>
            </a:extLst>
          </p:cNvPr>
          <p:cNvSpPr/>
          <p:nvPr/>
        </p:nvSpPr>
        <p:spPr>
          <a:xfrm>
            <a:off x="7423179" y="1056254"/>
            <a:ext cx="1137600" cy="241908"/>
          </a:xfrm>
          <a:prstGeom prst="rect">
            <a:avLst/>
          </a:prstGeom>
          <a:solidFill>
            <a:srgbClr val="00639C"/>
          </a:solidFill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pt-BR" sz="900" b="1" dirty="0">
                <a:solidFill>
                  <a:prstClr val="white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4T21R</a:t>
            </a:r>
          </a:p>
        </p:txBody>
      </p:sp>
      <p:sp>
        <p:nvSpPr>
          <p:cNvPr id="81" name="Retângulo 80">
            <a:extLst>
              <a:ext uri="{FF2B5EF4-FFF2-40B4-BE49-F238E27FC236}">
                <a16:creationId xmlns:a16="http://schemas.microsoft.com/office/drawing/2014/main" id="{5556F71F-8743-444E-95C9-39DD734AFA31}"/>
              </a:ext>
            </a:extLst>
          </p:cNvPr>
          <p:cNvSpPr/>
          <p:nvPr/>
        </p:nvSpPr>
        <p:spPr>
          <a:xfrm>
            <a:off x="3139114" y="1840008"/>
            <a:ext cx="4068000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36000" bIns="36000" anchor="ctr" anchorCtr="0">
            <a:noAutofit/>
          </a:bodyPr>
          <a:lstStyle/>
          <a:p>
            <a:pPr lvl="0" defTabSz="457200">
              <a:buClr>
                <a:srgbClr val="99A41E"/>
              </a:buClr>
              <a:defRPr/>
            </a:pPr>
            <a:r>
              <a:rPr lang="pt-BR" sz="900" b="1" cap="all" dirty="0">
                <a:solidFill>
                  <a:schemeClr val="tx1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EGURANÇA:</a:t>
            </a:r>
            <a:r>
              <a:rPr kumimoji="0" lang="pt-BR" sz="9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pt-BR" sz="900" dirty="0">
                <a:solidFill>
                  <a:schemeClr val="tx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axa de Frequência de Acidentes com afastamento (para Empregados) 						       </a:t>
            </a:r>
            <a:r>
              <a:rPr lang="pt-BR" sz="900" b="1" dirty="0">
                <a:solidFill>
                  <a:srgbClr val="FF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(RVA)</a:t>
            </a:r>
          </a:p>
        </p:txBody>
      </p:sp>
      <p:sp>
        <p:nvSpPr>
          <p:cNvPr id="82" name="Retângulo 81">
            <a:extLst>
              <a:ext uri="{FF2B5EF4-FFF2-40B4-BE49-F238E27FC236}">
                <a16:creationId xmlns:a16="http://schemas.microsoft.com/office/drawing/2014/main" id="{AAB498A4-E99E-4F23-8694-38BA7E443505}"/>
              </a:ext>
            </a:extLst>
          </p:cNvPr>
          <p:cNvSpPr/>
          <p:nvPr/>
        </p:nvSpPr>
        <p:spPr>
          <a:xfrm>
            <a:off x="8629653" y="1828894"/>
            <a:ext cx="1137600" cy="360000"/>
          </a:xfrm>
          <a:prstGeom prst="rect">
            <a:avLst/>
          </a:prstGeom>
          <a:solidFill>
            <a:srgbClr val="00B050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none" lIns="108000" tIns="36000" rIns="36000" bIns="36000" anchor="ctr" anchorCtr="0">
            <a:noAutofit/>
          </a:bodyPr>
          <a:lstStyle/>
          <a:p>
            <a:pPr algn="ctr" defTabSz="457200"/>
            <a:r>
              <a:rPr lang="pt-BR" sz="9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0,59</a:t>
            </a:r>
          </a:p>
        </p:txBody>
      </p:sp>
      <p:cxnSp>
        <p:nvCxnSpPr>
          <p:cNvPr id="84" name="Conector reto 83">
            <a:extLst>
              <a:ext uri="{FF2B5EF4-FFF2-40B4-BE49-F238E27FC236}">
                <a16:creationId xmlns:a16="http://schemas.microsoft.com/office/drawing/2014/main" id="{26369A68-90FE-4B03-81EC-4ED7B3B7EACB}"/>
              </a:ext>
            </a:extLst>
          </p:cNvPr>
          <p:cNvCxnSpPr>
            <a:cxnSpLocks/>
          </p:cNvCxnSpPr>
          <p:nvPr/>
        </p:nvCxnSpPr>
        <p:spPr>
          <a:xfrm>
            <a:off x="7208797" y="2005699"/>
            <a:ext cx="216000" cy="0"/>
          </a:xfrm>
          <a:prstGeom prst="line">
            <a:avLst/>
          </a:prstGeom>
          <a:ln w="9525">
            <a:solidFill>
              <a:schemeClr val="accent4"/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etângulo 84">
            <a:extLst>
              <a:ext uri="{FF2B5EF4-FFF2-40B4-BE49-F238E27FC236}">
                <a16:creationId xmlns:a16="http://schemas.microsoft.com/office/drawing/2014/main" id="{C17C2C28-944F-4FF0-83CA-0E2BCE00ABAE}"/>
              </a:ext>
            </a:extLst>
          </p:cNvPr>
          <p:cNvSpPr/>
          <p:nvPr/>
        </p:nvSpPr>
        <p:spPr>
          <a:xfrm>
            <a:off x="9815927" y="1836202"/>
            <a:ext cx="1137600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none" lIns="108000" tIns="36000" rIns="36000" bIns="36000" anchor="ctr" anchorCtr="0">
            <a:noAutofit/>
          </a:bodyPr>
          <a:lstStyle/>
          <a:p>
            <a:pPr marR="0" lvl="0" algn="ctr" defTabSz="4572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,03</a:t>
            </a:r>
          </a:p>
        </p:txBody>
      </p:sp>
      <p:sp>
        <p:nvSpPr>
          <p:cNvPr id="86" name="Retângulo 85">
            <a:extLst>
              <a:ext uri="{FF2B5EF4-FFF2-40B4-BE49-F238E27FC236}">
                <a16:creationId xmlns:a16="http://schemas.microsoft.com/office/drawing/2014/main" id="{1ABCE7A0-9456-42AC-8078-CC17F5CEC733}"/>
              </a:ext>
            </a:extLst>
          </p:cNvPr>
          <p:cNvSpPr/>
          <p:nvPr/>
        </p:nvSpPr>
        <p:spPr>
          <a:xfrm>
            <a:off x="11004047" y="1836202"/>
            <a:ext cx="1137600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none" lIns="108000" tIns="36000" rIns="36000" bIns="36000" anchor="ctr" anchorCtr="0">
            <a:noAutofit/>
          </a:bodyPr>
          <a:lstStyle/>
          <a:p>
            <a:pPr marR="0" lvl="0" algn="ctr" defTabSz="4572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,03</a:t>
            </a:r>
          </a:p>
        </p:txBody>
      </p:sp>
      <p:sp>
        <p:nvSpPr>
          <p:cNvPr id="87" name="Divisa 27">
            <a:hlinkClick r:id="rId4" action="ppaction://hlinksldjump"/>
            <a:extLst>
              <a:ext uri="{FF2B5EF4-FFF2-40B4-BE49-F238E27FC236}">
                <a16:creationId xmlns:a16="http://schemas.microsoft.com/office/drawing/2014/main" id="{45F35CFA-ECD7-4793-89BA-649A0323651F}"/>
              </a:ext>
            </a:extLst>
          </p:cNvPr>
          <p:cNvSpPr/>
          <p:nvPr/>
        </p:nvSpPr>
        <p:spPr>
          <a:xfrm>
            <a:off x="7042240" y="1942174"/>
            <a:ext cx="180000" cy="180000"/>
          </a:xfrm>
          <a:prstGeom prst="chevron">
            <a:avLst/>
          </a:prstGeom>
          <a:solidFill>
            <a:srgbClr val="CAD8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sp>
        <p:nvSpPr>
          <p:cNvPr id="88" name="Retângulo 87">
            <a:extLst>
              <a:ext uri="{FF2B5EF4-FFF2-40B4-BE49-F238E27FC236}">
                <a16:creationId xmlns:a16="http://schemas.microsoft.com/office/drawing/2014/main" id="{ACC8B5E4-F823-46AE-B990-25D9C8004552}"/>
              </a:ext>
            </a:extLst>
          </p:cNvPr>
          <p:cNvSpPr/>
          <p:nvPr/>
        </p:nvSpPr>
        <p:spPr>
          <a:xfrm>
            <a:off x="7435853" y="1828894"/>
            <a:ext cx="1137600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none" lIns="108000" tIns="36000" rIns="36000" bIns="36000" anchor="ctr" anchorCtr="0">
            <a:noAutofit/>
          </a:bodyPr>
          <a:lstStyle/>
          <a:p>
            <a:pPr marR="0" lvl="0" algn="ctr" defTabSz="4572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0,29</a:t>
            </a:r>
          </a:p>
        </p:txBody>
      </p:sp>
      <p:sp>
        <p:nvSpPr>
          <p:cNvPr id="89" name="Retângulo 88">
            <a:extLst>
              <a:ext uri="{FF2B5EF4-FFF2-40B4-BE49-F238E27FC236}">
                <a16:creationId xmlns:a16="http://schemas.microsoft.com/office/drawing/2014/main" id="{EC512AC0-D489-4319-9AF1-B1ABCF695326}"/>
              </a:ext>
            </a:extLst>
          </p:cNvPr>
          <p:cNvSpPr/>
          <p:nvPr/>
        </p:nvSpPr>
        <p:spPr>
          <a:xfrm>
            <a:off x="3149274" y="2226088"/>
            <a:ext cx="4068000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36000" bIns="36000" anchor="ctr" anchorCtr="0">
            <a:noAutofit/>
          </a:bodyPr>
          <a:lstStyle/>
          <a:p>
            <a:pPr marL="0" marR="0" lvl="0" indent="0" algn="l" defTabSz="457200" rtl="0" eaLnBrk="1" fontAlgn="auto" latinLnBrk="0" hangingPunct="1">
              <a:spcAft>
                <a:spcPts val="0"/>
              </a:spcAft>
              <a:buClr>
                <a:srgbClr val="99A41E"/>
              </a:buClr>
              <a:buSzTx/>
              <a:buFontTx/>
              <a:buNone/>
              <a:tabLst/>
              <a:defRPr/>
            </a:pPr>
            <a:r>
              <a:rPr lang="pt-BR" sz="900" b="1" cap="all" dirty="0">
                <a:solidFill>
                  <a:schemeClr val="tx1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EGURANÇA:</a:t>
            </a:r>
            <a:r>
              <a:rPr kumimoji="0" lang="pt-BR" sz="9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pt-BR" sz="900" dirty="0">
                <a:solidFill>
                  <a:schemeClr val="tx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axa de Frequência de Acidentes com afastamento (para Terceiros)</a:t>
            </a:r>
          </a:p>
        </p:txBody>
      </p:sp>
      <p:sp>
        <p:nvSpPr>
          <p:cNvPr id="90" name="Retângulo 89">
            <a:extLst>
              <a:ext uri="{FF2B5EF4-FFF2-40B4-BE49-F238E27FC236}">
                <a16:creationId xmlns:a16="http://schemas.microsoft.com/office/drawing/2014/main" id="{B7FF2BEA-6DCF-4F55-8F17-7863655E85A9}"/>
              </a:ext>
            </a:extLst>
          </p:cNvPr>
          <p:cNvSpPr/>
          <p:nvPr/>
        </p:nvSpPr>
        <p:spPr>
          <a:xfrm>
            <a:off x="8639813" y="2214974"/>
            <a:ext cx="1137600" cy="360000"/>
          </a:xfrm>
          <a:prstGeom prst="rect">
            <a:avLst/>
          </a:prstGeom>
          <a:solidFill>
            <a:srgbClr val="FF0000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none" lIns="108000" tIns="36000" rIns="36000" bIns="36000" anchor="ctr" anchorCtr="0">
            <a:noAutofit/>
          </a:bodyPr>
          <a:lstStyle/>
          <a:p>
            <a:pPr marR="0" lvl="0" algn="ctr" defTabSz="4572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3,98</a:t>
            </a:r>
          </a:p>
        </p:txBody>
      </p:sp>
      <p:cxnSp>
        <p:nvCxnSpPr>
          <p:cNvPr id="91" name="Conector reto 90">
            <a:extLst>
              <a:ext uri="{FF2B5EF4-FFF2-40B4-BE49-F238E27FC236}">
                <a16:creationId xmlns:a16="http://schemas.microsoft.com/office/drawing/2014/main" id="{8E89C079-6029-4F0F-8AB6-07FAC27B1CD3}"/>
              </a:ext>
            </a:extLst>
          </p:cNvPr>
          <p:cNvCxnSpPr>
            <a:cxnSpLocks/>
          </p:cNvCxnSpPr>
          <p:nvPr/>
        </p:nvCxnSpPr>
        <p:spPr>
          <a:xfrm>
            <a:off x="7218957" y="2391779"/>
            <a:ext cx="216000" cy="0"/>
          </a:xfrm>
          <a:prstGeom prst="line">
            <a:avLst/>
          </a:prstGeom>
          <a:ln w="9525">
            <a:solidFill>
              <a:schemeClr val="accent4"/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tângulo 91">
            <a:extLst>
              <a:ext uri="{FF2B5EF4-FFF2-40B4-BE49-F238E27FC236}">
                <a16:creationId xmlns:a16="http://schemas.microsoft.com/office/drawing/2014/main" id="{96833C31-D4CE-4AF2-AB18-9EC6D0C1D18B}"/>
              </a:ext>
            </a:extLst>
          </p:cNvPr>
          <p:cNvSpPr/>
          <p:nvPr/>
        </p:nvSpPr>
        <p:spPr>
          <a:xfrm>
            <a:off x="9826087" y="2222282"/>
            <a:ext cx="1137600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none" lIns="108000" tIns="36000" rIns="36000" bIns="36000" anchor="ctr" anchorCtr="0">
            <a:noAutofit/>
          </a:bodyPr>
          <a:lstStyle/>
          <a:p>
            <a:pPr marR="0" lvl="0" algn="ctr" defTabSz="4572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,54</a:t>
            </a:r>
          </a:p>
        </p:txBody>
      </p:sp>
      <p:sp>
        <p:nvSpPr>
          <p:cNvPr id="93" name="Retângulo 92">
            <a:extLst>
              <a:ext uri="{FF2B5EF4-FFF2-40B4-BE49-F238E27FC236}">
                <a16:creationId xmlns:a16="http://schemas.microsoft.com/office/drawing/2014/main" id="{773E670F-EFD3-49DE-85CE-55F81849DF63}"/>
              </a:ext>
            </a:extLst>
          </p:cNvPr>
          <p:cNvSpPr/>
          <p:nvPr/>
        </p:nvSpPr>
        <p:spPr>
          <a:xfrm>
            <a:off x="11014207" y="2222282"/>
            <a:ext cx="1137600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none" lIns="108000" tIns="36000" rIns="36000" bIns="36000" anchor="ctr" anchorCtr="0">
            <a:noAutofit/>
          </a:bodyPr>
          <a:lstStyle/>
          <a:p>
            <a:pPr marR="0" lvl="0" algn="ctr" defTabSz="4572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,54</a:t>
            </a:r>
          </a:p>
        </p:txBody>
      </p:sp>
      <p:sp>
        <p:nvSpPr>
          <p:cNvPr id="94" name="Divisa 160">
            <a:hlinkClick r:id="rId5" action="ppaction://hlinksldjump"/>
            <a:extLst>
              <a:ext uri="{FF2B5EF4-FFF2-40B4-BE49-F238E27FC236}">
                <a16:creationId xmlns:a16="http://schemas.microsoft.com/office/drawing/2014/main" id="{0871EC05-EA1D-4E1D-B638-332B2628ABFB}"/>
              </a:ext>
            </a:extLst>
          </p:cNvPr>
          <p:cNvSpPr/>
          <p:nvPr/>
        </p:nvSpPr>
        <p:spPr>
          <a:xfrm>
            <a:off x="7052400" y="2328254"/>
            <a:ext cx="180000" cy="180000"/>
          </a:xfrm>
          <a:prstGeom prst="chevron">
            <a:avLst/>
          </a:prstGeom>
          <a:solidFill>
            <a:srgbClr val="CAD8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sp>
        <p:nvSpPr>
          <p:cNvPr id="95" name="Retângulo 94">
            <a:extLst>
              <a:ext uri="{FF2B5EF4-FFF2-40B4-BE49-F238E27FC236}">
                <a16:creationId xmlns:a16="http://schemas.microsoft.com/office/drawing/2014/main" id="{C4669C62-2FE1-4E77-B0A3-3A08538950C8}"/>
              </a:ext>
            </a:extLst>
          </p:cNvPr>
          <p:cNvSpPr/>
          <p:nvPr/>
        </p:nvSpPr>
        <p:spPr>
          <a:xfrm>
            <a:off x="7446013" y="2214974"/>
            <a:ext cx="1137600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none" lIns="108000" tIns="36000" rIns="36000" bIns="36000" anchor="ctr" anchorCtr="0">
            <a:noAutofit/>
          </a:bodyPr>
          <a:lstStyle/>
          <a:p>
            <a:pPr marR="0" lvl="0" algn="ctr" defTabSz="4572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2,73</a:t>
            </a:r>
          </a:p>
        </p:txBody>
      </p:sp>
      <p:sp>
        <p:nvSpPr>
          <p:cNvPr id="97" name="Retângulo 96">
            <a:extLst>
              <a:ext uri="{FF2B5EF4-FFF2-40B4-BE49-F238E27FC236}">
                <a16:creationId xmlns:a16="http://schemas.microsoft.com/office/drawing/2014/main" id="{C84B91FC-425A-4E02-9E04-E8FCB477BC00}"/>
              </a:ext>
            </a:extLst>
          </p:cNvPr>
          <p:cNvSpPr/>
          <p:nvPr/>
        </p:nvSpPr>
        <p:spPr>
          <a:xfrm>
            <a:off x="3143268" y="2660199"/>
            <a:ext cx="4068000" cy="360000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txBody>
          <a:bodyPr lIns="108000" tIns="36000" rIns="36000" bIns="36000" anchor="ctr" anchorCtr="0">
            <a:noAutofit/>
          </a:bodyPr>
          <a:lstStyle/>
          <a:p>
            <a:pPr lvl="0" defTabSz="457200">
              <a:defRPr/>
            </a:pPr>
            <a:r>
              <a:rPr lang="pt-BR" sz="900" dirty="0">
                <a:solidFill>
                  <a:schemeClr val="tx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	Automação digital para otimização do trabalho</a:t>
            </a:r>
          </a:p>
        </p:txBody>
      </p:sp>
      <p:sp>
        <p:nvSpPr>
          <p:cNvPr id="98" name="Retângulo 97">
            <a:extLst>
              <a:ext uri="{FF2B5EF4-FFF2-40B4-BE49-F238E27FC236}">
                <a16:creationId xmlns:a16="http://schemas.microsoft.com/office/drawing/2014/main" id="{A1467066-8BE8-4526-AC74-64CEB8ADD74D}"/>
              </a:ext>
            </a:extLst>
          </p:cNvPr>
          <p:cNvSpPr/>
          <p:nvPr/>
        </p:nvSpPr>
        <p:spPr>
          <a:xfrm>
            <a:off x="8633807" y="2661039"/>
            <a:ext cx="1137600" cy="360000"/>
          </a:xfrm>
          <a:prstGeom prst="rect">
            <a:avLst/>
          </a:prstGeom>
          <a:solidFill>
            <a:srgbClr val="00B050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none" lIns="108000" tIns="36000" rIns="36000" bIns="36000" anchor="ctr" anchorCtr="0">
            <a:noAutofit/>
          </a:bodyPr>
          <a:lstStyle/>
          <a:p>
            <a:pPr marR="0" lvl="0" algn="ctr" defTabSz="4572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4.760</a:t>
            </a:r>
          </a:p>
        </p:txBody>
      </p:sp>
      <p:cxnSp>
        <p:nvCxnSpPr>
          <p:cNvPr id="100" name="Conector reto 99">
            <a:extLst>
              <a:ext uri="{FF2B5EF4-FFF2-40B4-BE49-F238E27FC236}">
                <a16:creationId xmlns:a16="http://schemas.microsoft.com/office/drawing/2014/main" id="{AAC0A7F1-1083-45D3-B1A5-06AA93395F81}"/>
              </a:ext>
            </a:extLst>
          </p:cNvPr>
          <p:cNvCxnSpPr>
            <a:cxnSpLocks/>
          </p:cNvCxnSpPr>
          <p:nvPr/>
        </p:nvCxnSpPr>
        <p:spPr>
          <a:xfrm>
            <a:off x="7212951" y="2805447"/>
            <a:ext cx="216000" cy="0"/>
          </a:xfrm>
          <a:prstGeom prst="line">
            <a:avLst/>
          </a:prstGeom>
          <a:ln w="9525">
            <a:solidFill>
              <a:srgbClr val="C2C59C"/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tângulo 100">
            <a:extLst>
              <a:ext uri="{FF2B5EF4-FFF2-40B4-BE49-F238E27FC236}">
                <a16:creationId xmlns:a16="http://schemas.microsoft.com/office/drawing/2014/main" id="{0EBDFDDD-96E0-409D-8446-65180DE7FC8B}"/>
              </a:ext>
            </a:extLst>
          </p:cNvPr>
          <p:cNvSpPr/>
          <p:nvPr/>
        </p:nvSpPr>
        <p:spPr>
          <a:xfrm>
            <a:off x="9820081" y="2668347"/>
            <a:ext cx="1137600" cy="360000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txBody>
          <a:bodyPr wrap="none" lIns="108000" tIns="36000" rIns="36000" bIns="36000" anchor="ctr" anchorCtr="0">
            <a:noAutofit/>
          </a:bodyPr>
          <a:lstStyle/>
          <a:p>
            <a:pPr marR="0" lvl="0" algn="ctr" defTabSz="4572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2.500</a:t>
            </a:r>
          </a:p>
        </p:txBody>
      </p:sp>
      <p:sp>
        <p:nvSpPr>
          <p:cNvPr id="102" name="Retângulo 101">
            <a:extLst>
              <a:ext uri="{FF2B5EF4-FFF2-40B4-BE49-F238E27FC236}">
                <a16:creationId xmlns:a16="http://schemas.microsoft.com/office/drawing/2014/main" id="{C5245EE9-7153-472D-B800-146F75657F76}"/>
              </a:ext>
            </a:extLst>
          </p:cNvPr>
          <p:cNvSpPr/>
          <p:nvPr/>
        </p:nvSpPr>
        <p:spPr>
          <a:xfrm>
            <a:off x="11008201" y="2668347"/>
            <a:ext cx="1137600" cy="360000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txBody>
          <a:bodyPr wrap="none" lIns="108000" tIns="36000" rIns="36000" bIns="36000" anchor="ctr" anchorCtr="0">
            <a:noAutofit/>
          </a:bodyPr>
          <a:lstStyle/>
          <a:p>
            <a:pPr marR="0" lvl="0" algn="ctr" defTabSz="4572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2.500</a:t>
            </a:r>
          </a:p>
        </p:txBody>
      </p:sp>
      <p:sp>
        <p:nvSpPr>
          <p:cNvPr id="103" name="Divisa 181">
            <a:hlinkClick r:id="rId6" action="ppaction://hlinksldjump"/>
            <a:extLst>
              <a:ext uri="{FF2B5EF4-FFF2-40B4-BE49-F238E27FC236}">
                <a16:creationId xmlns:a16="http://schemas.microsoft.com/office/drawing/2014/main" id="{EB407F74-A877-4DF6-838C-85E054576936}"/>
              </a:ext>
            </a:extLst>
          </p:cNvPr>
          <p:cNvSpPr/>
          <p:nvPr/>
        </p:nvSpPr>
        <p:spPr>
          <a:xfrm>
            <a:off x="7046394" y="2766493"/>
            <a:ext cx="180000" cy="180000"/>
          </a:xfrm>
          <a:prstGeom prst="chevron">
            <a:avLst/>
          </a:prstGeom>
          <a:solidFill>
            <a:srgbClr val="CAD8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sp>
        <p:nvSpPr>
          <p:cNvPr id="104" name="Retângulo 103">
            <a:extLst>
              <a:ext uri="{FF2B5EF4-FFF2-40B4-BE49-F238E27FC236}">
                <a16:creationId xmlns:a16="http://schemas.microsoft.com/office/drawing/2014/main" id="{1E7DD4B4-6DFF-4291-879D-45D749360EC8}"/>
              </a:ext>
            </a:extLst>
          </p:cNvPr>
          <p:cNvSpPr/>
          <p:nvPr/>
        </p:nvSpPr>
        <p:spPr>
          <a:xfrm>
            <a:off x="7440007" y="2661039"/>
            <a:ext cx="1137600" cy="360000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txBody>
          <a:bodyPr wrap="none" lIns="108000" tIns="36000" rIns="36000" bIns="36000" anchor="ctr" anchorCtr="0">
            <a:noAutofit/>
          </a:bodyPr>
          <a:lstStyle/>
          <a:p>
            <a:pPr marR="0" lvl="0" algn="ctr" defTabSz="4572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N/A</a:t>
            </a:r>
          </a:p>
        </p:txBody>
      </p:sp>
      <p:sp>
        <p:nvSpPr>
          <p:cNvPr id="105" name="Retângulo 104">
            <a:extLst>
              <a:ext uri="{FF2B5EF4-FFF2-40B4-BE49-F238E27FC236}">
                <a16:creationId xmlns:a16="http://schemas.microsoft.com/office/drawing/2014/main" id="{D569B357-C085-4981-9E51-2E1C83D09983}"/>
              </a:ext>
            </a:extLst>
          </p:cNvPr>
          <p:cNvSpPr/>
          <p:nvPr/>
        </p:nvSpPr>
        <p:spPr>
          <a:xfrm>
            <a:off x="3149270" y="1371028"/>
            <a:ext cx="4068000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lIns="108000" tIns="36000" rIns="36000" bIns="36000" anchor="ctr" anchorCtr="0">
            <a:noAutofit/>
          </a:bodyPr>
          <a:lstStyle/>
          <a:p>
            <a:pPr marR="0" lvl="0" algn="l" defTabSz="4572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Helvetica" panose="020B0604020202020204" pitchFamily="34" charset="0"/>
                <a:cs typeface="Helvetica" panose="020B0604020202020204" pitchFamily="34" charset="0"/>
              </a:rPr>
              <a:t>Percentual de Energia Gerada por Fonte Limpa</a:t>
            </a:r>
          </a:p>
        </p:txBody>
      </p:sp>
      <p:sp>
        <p:nvSpPr>
          <p:cNvPr id="106" name="Retângulo 105">
            <a:extLst>
              <a:ext uri="{FF2B5EF4-FFF2-40B4-BE49-F238E27FC236}">
                <a16:creationId xmlns:a16="http://schemas.microsoft.com/office/drawing/2014/main" id="{CF4DA1A6-BEAD-4CC1-8E71-5ACE20002C6E}"/>
              </a:ext>
            </a:extLst>
          </p:cNvPr>
          <p:cNvSpPr/>
          <p:nvPr/>
        </p:nvSpPr>
        <p:spPr>
          <a:xfrm>
            <a:off x="8639809" y="1372507"/>
            <a:ext cx="1137600" cy="360000"/>
          </a:xfrm>
          <a:prstGeom prst="rect">
            <a:avLst/>
          </a:prstGeom>
          <a:solidFill>
            <a:srgbClr val="00B050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none" lIns="108000" tIns="36000" rIns="36000" bIns="36000" anchor="ctr" anchorCtr="0">
            <a:noAutofit/>
          </a:bodyPr>
          <a:lstStyle/>
          <a:p>
            <a:pPr marR="0" lvl="0" algn="ctr" defTabSz="4572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00%</a:t>
            </a:r>
          </a:p>
        </p:txBody>
      </p:sp>
      <p:cxnSp>
        <p:nvCxnSpPr>
          <p:cNvPr id="108" name="Conector reto 107">
            <a:extLst>
              <a:ext uri="{FF2B5EF4-FFF2-40B4-BE49-F238E27FC236}">
                <a16:creationId xmlns:a16="http://schemas.microsoft.com/office/drawing/2014/main" id="{B6CAF9F4-598E-49E4-9C1D-58BF242507A5}"/>
              </a:ext>
            </a:extLst>
          </p:cNvPr>
          <p:cNvCxnSpPr>
            <a:cxnSpLocks/>
          </p:cNvCxnSpPr>
          <p:nvPr/>
        </p:nvCxnSpPr>
        <p:spPr>
          <a:xfrm>
            <a:off x="7218953" y="1546756"/>
            <a:ext cx="216000" cy="0"/>
          </a:xfrm>
          <a:prstGeom prst="line">
            <a:avLst/>
          </a:prstGeom>
          <a:ln w="9525">
            <a:solidFill>
              <a:schemeClr val="accent2">
                <a:lumMod val="75000"/>
              </a:schemeClr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tângulo 108">
            <a:extLst>
              <a:ext uri="{FF2B5EF4-FFF2-40B4-BE49-F238E27FC236}">
                <a16:creationId xmlns:a16="http://schemas.microsoft.com/office/drawing/2014/main" id="{C618953B-AC8A-4C5D-91FE-3BA3CB795617}"/>
              </a:ext>
            </a:extLst>
          </p:cNvPr>
          <p:cNvSpPr/>
          <p:nvPr/>
        </p:nvSpPr>
        <p:spPr>
          <a:xfrm>
            <a:off x="9826083" y="1379815"/>
            <a:ext cx="1137600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none" lIns="108000" tIns="36000" rIns="36000" bIns="36000" anchor="ctr" anchorCtr="0">
            <a:noAutofit/>
          </a:bodyPr>
          <a:lstStyle/>
          <a:p>
            <a:pPr marR="0" lvl="0" algn="ctr" defTabSz="4572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00%</a:t>
            </a:r>
          </a:p>
        </p:txBody>
      </p:sp>
      <p:sp>
        <p:nvSpPr>
          <p:cNvPr id="110" name="Retângulo 109">
            <a:extLst>
              <a:ext uri="{FF2B5EF4-FFF2-40B4-BE49-F238E27FC236}">
                <a16:creationId xmlns:a16="http://schemas.microsoft.com/office/drawing/2014/main" id="{3FC8E066-AC27-4304-A28E-F1360662B07C}"/>
              </a:ext>
            </a:extLst>
          </p:cNvPr>
          <p:cNvSpPr/>
          <p:nvPr/>
        </p:nvSpPr>
        <p:spPr>
          <a:xfrm>
            <a:off x="11014203" y="1379815"/>
            <a:ext cx="1137600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none" lIns="108000" tIns="36000" rIns="36000" bIns="36000" anchor="ctr" anchorCtr="0">
            <a:noAutofit/>
          </a:bodyPr>
          <a:lstStyle/>
          <a:p>
            <a:pPr marR="0" lvl="0" algn="ctr" defTabSz="4572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00%</a:t>
            </a:r>
          </a:p>
        </p:txBody>
      </p:sp>
      <p:sp>
        <p:nvSpPr>
          <p:cNvPr id="111" name="Divisa 98">
            <a:hlinkClick r:id="rId7" action="ppaction://hlinksldjump"/>
            <a:extLst>
              <a:ext uri="{FF2B5EF4-FFF2-40B4-BE49-F238E27FC236}">
                <a16:creationId xmlns:a16="http://schemas.microsoft.com/office/drawing/2014/main" id="{F80169A3-4470-4261-A57C-A426A8F5CB76}"/>
              </a:ext>
            </a:extLst>
          </p:cNvPr>
          <p:cNvSpPr/>
          <p:nvPr/>
        </p:nvSpPr>
        <p:spPr>
          <a:xfrm>
            <a:off x="7053023" y="1500638"/>
            <a:ext cx="180000" cy="180000"/>
          </a:xfrm>
          <a:prstGeom prst="chevron">
            <a:avLst/>
          </a:prstGeom>
          <a:solidFill>
            <a:srgbClr val="5DCE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sp>
        <p:nvSpPr>
          <p:cNvPr id="112" name="Retângulo 111">
            <a:extLst>
              <a:ext uri="{FF2B5EF4-FFF2-40B4-BE49-F238E27FC236}">
                <a16:creationId xmlns:a16="http://schemas.microsoft.com/office/drawing/2014/main" id="{6F6256E8-82E8-4146-8421-DBE048EC113B}"/>
              </a:ext>
            </a:extLst>
          </p:cNvPr>
          <p:cNvSpPr/>
          <p:nvPr/>
        </p:nvSpPr>
        <p:spPr>
          <a:xfrm>
            <a:off x="7446009" y="1372507"/>
            <a:ext cx="1137600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wrap="none" lIns="108000" tIns="36000" rIns="36000" bIns="36000" anchor="ctr" anchorCtr="0">
            <a:noAutofit/>
          </a:bodyPr>
          <a:lstStyle/>
          <a:p>
            <a:pPr marR="0" lvl="0" algn="ctr" defTabSz="4572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00%</a:t>
            </a:r>
          </a:p>
        </p:txBody>
      </p:sp>
      <p:sp>
        <p:nvSpPr>
          <p:cNvPr id="113" name="Retângulo 112">
            <a:extLst>
              <a:ext uri="{FF2B5EF4-FFF2-40B4-BE49-F238E27FC236}">
                <a16:creationId xmlns:a16="http://schemas.microsoft.com/office/drawing/2014/main" id="{64163A29-2474-4150-ABE7-A025735D92FB}"/>
              </a:ext>
            </a:extLst>
          </p:cNvPr>
          <p:cNvSpPr/>
          <p:nvPr/>
        </p:nvSpPr>
        <p:spPr>
          <a:xfrm>
            <a:off x="311304" y="1381448"/>
            <a:ext cx="2664000" cy="35411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0" rIns="0" bIns="0" anchor="ctr" anchorCtr="0">
            <a:noAutofit/>
          </a:bodyPr>
          <a:lstStyle/>
          <a:p>
            <a:pPr marL="216000" lvl="0" defTabSz="457200">
              <a:defRPr/>
            </a:pPr>
            <a:r>
              <a:rPr lang="pt-BR" sz="1050" b="1" dirty="0">
                <a:solidFill>
                  <a:srgbClr val="00639C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DS 7 </a:t>
            </a:r>
            <a:r>
              <a:rPr lang="pt-BR" sz="900" b="1" dirty="0">
                <a:solidFill>
                  <a:schemeClr val="tx1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NERGIA ACESSÍVEL E LIMPA</a:t>
            </a:r>
          </a:p>
        </p:txBody>
      </p:sp>
      <p:sp>
        <p:nvSpPr>
          <p:cNvPr id="114" name="Retângulo 113">
            <a:extLst>
              <a:ext uri="{FF2B5EF4-FFF2-40B4-BE49-F238E27FC236}">
                <a16:creationId xmlns:a16="http://schemas.microsoft.com/office/drawing/2014/main" id="{2BFE94C9-B9DC-4789-BB73-5A2BC9FE63E8}"/>
              </a:ext>
            </a:extLst>
          </p:cNvPr>
          <p:cNvSpPr/>
          <p:nvPr/>
        </p:nvSpPr>
        <p:spPr>
          <a:xfrm>
            <a:off x="317932" y="1798888"/>
            <a:ext cx="2664000" cy="7920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0" rIns="0" bIns="0" anchor="ctr" anchorCtr="0">
            <a:noAutofit/>
          </a:bodyPr>
          <a:lstStyle/>
          <a:p>
            <a:pPr marL="216000" lvl="0" defTabSz="457200">
              <a:defRPr/>
            </a:pPr>
            <a:r>
              <a:rPr lang="pt-BR" sz="1050" b="1" dirty="0">
                <a:solidFill>
                  <a:srgbClr val="00639C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DS 8 </a:t>
            </a:r>
            <a:r>
              <a:rPr lang="pt-BR" sz="900" b="1" dirty="0">
                <a:solidFill>
                  <a:schemeClr val="tx1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ABALHO DIGNO E CRESCIMENTO ECONÔMICO</a:t>
            </a:r>
          </a:p>
        </p:txBody>
      </p:sp>
      <p:sp>
        <p:nvSpPr>
          <p:cNvPr id="115" name="Retângulo 114">
            <a:extLst>
              <a:ext uri="{FF2B5EF4-FFF2-40B4-BE49-F238E27FC236}">
                <a16:creationId xmlns:a16="http://schemas.microsoft.com/office/drawing/2014/main" id="{84E5FBE5-11C4-45F7-8473-FAD561783C47}"/>
              </a:ext>
            </a:extLst>
          </p:cNvPr>
          <p:cNvSpPr/>
          <p:nvPr/>
        </p:nvSpPr>
        <p:spPr>
          <a:xfrm>
            <a:off x="324556" y="2666910"/>
            <a:ext cx="2664000" cy="35411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0" rIns="0" bIns="0" anchor="ctr" anchorCtr="0">
            <a:noAutofit/>
          </a:bodyPr>
          <a:lstStyle/>
          <a:p>
            <a:pPr marL="216000" lvl="0" defTabSz="457200">
              <a:defRPr/>
            </a:pPr>
            <a:r>
              <a:rPr lang="pt-BR" sz="1050" b="1" dirty="0">
                <a:solidFill>
                  <a:srgbClr val="00639C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DS 9 </a:t>
            </a:r>
            <a:r>
              <a:rPr lang="pt-BR" sz="900" b="1" dirty="0">
                <a:solidFill>
                  <a:schemeClr val="tx1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NOVAÇÃO E INFRAESTRUTURAS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75EF4586-A129-41CF-9C64-BD676F2114DF}"/>
              </a:ext>
            </a:extLst>
          </p:cNvPr>
          <p:cNvSpPr txBox="1"/>
          <p:nvPr/>
        </p:nvSpPr>
        <p:spPr>
          <a:xfrm>
            <a:off x="401842" y="5312131"/>
            <a:ext cx="1115833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 err="1">
                <a:latin typeface="Gadugi" panose="020B0502040204020203" pitchFamily="34" charset="0"/>
                <a:ea typeface="Gadugi" panose="020B0502040204020203" pitchFamily="34" charset="0"/>
              </a:rPr>
              <a:t>Obs</a:t>
            </a:r>
            <a:r>
              <a:rPr lang="pt-BR" sz="1100" dirty="0">
                <a:latin typeface="Gadugi" panose="020B0502040204020203" pitchFamily="34" charset="0"/>
                <a:ea typeface="Gadugi" panose="020B0502040204020203" pitchFamily="34" charset="0"/>
              </a:rPr>
              <a:t>: O Indicador “intensidade de Emissões de Gases de Efeito Estufa (tCO2/MWh)” também está conectado ao ODS 11 – Cidades e Comunidades Sustentáveis.</a:t>
            </a:r>
          </a:p>
        </p:txBody>
      </p:sp>
    </p:spTree>
    <p:extLst>
      <p:ext uri="{BB962C8B-B14F-4D97-AF65-F5344CB8AC3E}">
        <p14:creationId xmlns:p14="http://schemas.microsoft.com/office/powerpoint/2010/main" val="23210395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/>
          </p:cNvSpPr>
          <p:nvPr/>
        </p:nvSpPr>
        <p:spPr bwMode="auto">
          <a:xfrm>
            <a:off x="598766" y="1016752"/>
            <a:ext cx="5209219" cy="498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850" tIns="54425" rIns="108850" bIns="54425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8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33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9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defTabSz="542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defTabSz="542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defTabSz="542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defTabSz="542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pt-BR" altLang="pt-BR" sz="1800" dirty="0">
                <a:solidFill>
                  <a:srgbClr val="040404"/>
                </a:solidFill>
                <a:latin typeface="Calibri"/>
                <a:cs typeface="Arial" charset="0"/>
              </a:rPr>
              <a:t>Percentual de Energia Gerada por Fonte Limpa (%)</a:t>
            </a:r>
          </a:p>
        </p:txBody>
      </p:sp>
      <p:sp>
        <p:nvSpPr>
          <p:cNvPr id="14" name="Título 3"/>
          <p:cNvSpPr txBox="1">
            <a:spLocks/>
          </p:cNvSpPr>
          <p:nvPr/>
        </p:nvSpPr>
        <p:spPr>
          <a:xfrm>
            <a:off x="479397" y="51286"/>
            <a:ext cx="10657183" cy="817561"/>
          </a:xfrm>
          <a:prstGeom prst="rect">
            <a:avLst/>
          </a:prstGeom>
        </p:spPr>
        <p:txBody>
          <a:bodyPr anchor="b"/>
          <a:lstStyle>
            <a:lvl1pPr algn="ctr" defTabSz="1219170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2800" kern="800" spc="-53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BR" dirty="0">
                <a:solidFill>
                  <a:srgbClr val="595959"/>
                </a:solidFill>
                <a:latin typeface="Open Sans Light" panose="020B0604020202020204" charset="0"/>
                <a:ea typeface="Open Sans Light" panose="020B0604020202020204" charset="0"/>
                <a:cs typeface="Open Sans Light" panose="020B0604020202020204" charset="0"/>
              </a:rPr>
              <a:t>ODS 7 – ENERGIA ACESSÍVEL E LIMPA</a:t>
            </a:r>
          </a:p>
        </p:txBody>
      </p:sp>
      <p:grpSp>
        <p:nvGrpSpPr>
          <p:cNvPr id="21" name="Grupo 20"/>
          <p:cNvGrpSpPr/>
          <p:nvPr/>
        </p:nvGrpSpPr>
        <p:grpSpPr>
          <a:xfrm>
            <a:off x="838200" y="1950489"/>
            <a:ext cx="2342852" cy="304640"/>
            <a:chOff x="7682288" y="1036769"/>
            <a:chExt cx="1750414" cy="304640"/>
          </a:xfrm>
        </p:grpSpPr>
        <p:sp>
          <p:nvSpPr>
            <p:cNvPr id="32" name="CaixaDeTexto 31"/>
            <p:cNvSpPr txBox="1"/>
            <p:nvPr/>
          </p:nvSpPr>
          <p:spPr bwMode="auto">
            <a:xfrm>
              <a:off x="7682288" y="1079799"/>
              <a:ext cx="1079500" cy="26161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544251">
                <a:defRPr/>
              </a:pPr>
              <a:r>
                <a:rPr lang="pt-BR" sz="1100" dirty="0">
                  <a:solidFill>
                    <a:prstClr val="white">
                      <a:lumMod val="50000"/>
                    </a:prstClr>
                  </a:solidFill>
                  <a:latin typeface="Open Sans Light"/>
                </a:rPr>
                <a:t>Melhor</a:t>
              </a:r>
            </a:p>
          </p:txBody>
        </p:sp>
        <p:sp>
          <p:nvSpPr>
            <p:cNvPr id="29" name="CaixaDeTexto 28"/>
            <p:cNvSpPr txBox="1"/>
            <p:nvPr/>
          </p:nvSpPr>
          <p:spPr bwMode="auto">
            <a:xfrm>
              <a:off x="8256240" y="1063414"/>
              <a:ext cx="1176462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 defTabSz="544251">
                <a:defRPr/>
              </a:pPr>
              <a:r>
                <a:rPr lang="pt-BR" sz="1100" dirty="0">
                  <a:solidFill>
                    <a:prstClr val="white">
                      <a:lumMod val="50000"/>
                    </a:prstClr>
                  </a:solidFill>
                  <a:latin typeface="Open Sans Light"/>
                  <a:cs typeface="Arial" charset="0"/>
                </a:rPr>
                <a:t>Meta  atingida</a:t>
              </a:r>
            </a:p>
          </p:txBody>
        </p:sp>
        <p:cxnSp>
          <p:nvCxnSpPr>
            <p:cNvPr id="25" name="Conector reto 24"/>
            <p:cNvCxnSpPr/>
            <p:nvPr/>
          </p:nvCxnSpPr>
          <p:spPr>
            <a:xfrm>
              <a:off x="8256240" y="1036769"/>
              <a:ext cx="0" cy="21600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838200" y="38068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pt-BR" altLang="pt-BR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</a:br>
            <a:endParaRPr kumimoji="0" lang="pt-BR" altLang="pt-B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838200" y="36814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pt-BR" altLang="pt-BR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</a:br>
            <a:endParaRPr kumimoji="0" lang="pt-BR" altLang="pt-B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40" name="Seta para baixo 30">
            <a:extLst>
              <a:ext uri="{FF2B5EF4-FFF2-40B4-BE49-F238E27FC236}">
                <a16:creationId xmlns:a16="http://schemas.microsoft.com/office/drawing/2014/main" id="{E8949FBF-F0E8-4220-B825-6305170258F7}"/>
              </a:ext>
            </a:extLst>
          </p:cNvPr>
          <p:cNvSpPr/>
          <p:nvPr/>
        </p:nvSpPr>
        <p:spPr bwMode="auto">
          <a:xfrm flipV="1">
            <a:off x="708420" y="2010361"/>
            <a:ext cx="198185" cy="151463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44251">
              <a:defRPr/>
            </a:pPr>
            <a:endParaRPr lang="pt-BR" sz="1800"/>
          </a:p>
        </p:txBody>
      </p:sp>
      <p:graphicFrame>
        <p:nvGraphicFramePr>
          <p:cNvPr id="31" name="Content Placeholder 5">
            <a:extLst>
              <a:ext uri="{FF2B5EF4-FFF2-40B4-BE49-F238E27FC236}">
                <a16:creationId xmlns:a16="http://schemas.microsoft.com/office/drawing/2014/main" id="{23EC7B9D-0355-4159-9D7B-2A8DA819B10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51949518"/>
              </p:ext>
            </p:extLst>
          </p:nvPr>
        </p:nvGraphicFramePr>
        <p:xfrm>
          <a:off x="598766" y="2700767"/>
          <a:ext cx="5629756" cy="25743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9" name="Imagem 4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63"/>
          <a:stretch>
            <a:fillRect/>
          </a:stretch>
        </p:blipFill>
        <p:spPr bwMode="auto">
          <a:xfrm>
            <a:off x="1719272" y="1976036"/>
            <a:ext cx="141245" cy="16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Retângulo 40"/>
          <p:cNvSpPr/>
          <p:nvPr/>
        </p:nvSpPr>
        <p:spPr>
          <a:xfrm>
            <a:off x="131884" y="6427176"/>
            <a:ext cx="10207869" cy="3604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2DF468EC-C3E3-4FB2-8504-E3E669DCB315}"/>
              </a:ext>
            </a:extLst>
          </p:cNvPr>
          <p:cNvSpPr txBox="1"/>
          <p:nvPr/>
        </p:nvSpPr>
        <p:spPr>
          <a:xfrm>
            <a:off x="7370120" y="1250034"/>
            <a:ext cx="4453707" cy="3926342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850" tIns="54425" rIns="108850" bIns="54425">
            <a:spAutoFit/>
          </a:bodyPr>
          <a:lstStyle/>
          <a:p>
            <a:pPr defTabSz="544251">
              <a:defRPr/>
            </a:pPr>
            <a:r>
              <a:rPr lang="pt-BR" sz="1600" dirty="0">
                <a:solidFill>
                  <a:schemeClr val="tx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Mantidas ao longo de 2022 as capacidades instaladas de Angra 1 (650Mw) e Angra 2 (1.340Mw)</a:t>
            </a:r>
          </a:p>
          <a:p>
            <a:pPr defTabSz="544251">
              <a:defRPr/>
            </a:pPr>
            <a:endParaRPr lang="pt-BR" sz="800" dirty="0">
              <a:solidFill>
                <a:schemeClr val="tx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  <a:p>
            <a:pPr marL="171450" indent="-171450" defTabSz="544251">
              <a:buFont typeface="Wingdings" panose="05000000000000000000" pitchFamily="2" charset="2"/>
              <a:buChar char="§"/>
              <a:defRPr/>
            </a:pPr>
            <a:r>
              <a:rPr lang="pt-BR" sz="1100" dirty="0"/>
              <a:t>Angra 3 foi efetivamente retomada, o que futuramente nos permitirá cumprir nossa meta de entregar ao sistema elétrico nacional mais 1.405 MW de energia firme e limpa, que é a previsão de volume de energia a ser gerada por Angra 3. </a:t>
            </a:r>
          </a:p>
          <a:p>
            <a:pPr defTabSz="544251">
              <a:defRPr/>
            </a:pPr>
            <a:endParaRPr lang="pt-BR" sz="800" dirty="0"/>
          </a:p>
          <a:p>
            <a:pPr marL="171450" indent="-171450" defTabSz="544251">
              <a:buFont typeface="Wingdings" panose="05000000000000000000" pitchFamily="2" charset="2"/>
              <a:buChar char="§"/>
              <a:defRPr/>
            </a:pPr>
            <a:r>
              <a:rPr lang="pt-BR" sz="1100" dirty="0"/>
              <a:t> A extensão da vida útil de Angra 1, que será possibilitada com uma renovação da sua licença de operação, é um dos projetos mais importantes em curso na Eletronuclear. O projeto pode assegurar a continuidade da operação da usina após a expiração da licença atual, em 2024, mantendo por mais 20 anos à disposição do sistema elétrico brasileiro uma capacidade de geração de 640 MW. Para garantir essa ampliação da operação da usina, a Eletronuclear desenvolve o Programa de Extensão da Vida Útil de Angra 1 — </a:t>
            </a:r>
            <a:r>
              <a:rPr lang="pt-BR" sz="1100" dirty="0" err="1"/>
              <a:t>Long</a:t>
            </a:r>
            <a:r>
              <a:rPr lang="pt-BR" sz="1100" dirty="0"/>
              <a:t> </a:t>
            </a:r>
            <a:r>
              <a:rPr lang="pt-BR" sz="1100" dirty="0" err="1"/>
              <a:t>Term</a:t>
            </a:r>
            <a:r>
              <a:rPr lang="pt-BR" sz="1100" dirty="0"/>
              <a:t> </a:t>
            </a:r>
            <a:r>
              <a:rPr lang="pt-BR" sz="1100" dirty="0" err="1"/>
              <a:t>Operation</a:t>
            </a:r>
            <a:r>
              <a:rPr lang="pt-BR" sz="1100" dirty="0"/>
              <a:t> (LTO).</a:t>
            </a:r>
          </a:p>
          <a:p>
            <a:pPr defTabSz="544251">
              <a:defRPr/>
            </a:pPr>
            <a:endParaRPr lang="pt-BR" sz="800" dirty="0"/>
          </a:p>
          <a:p>
            <a:pPr marL="171450" indent="-171450" defTabSz="544251">
              <a:buFont typeface="Wingdings" panose="05000000000000000000" pitchFamily="2" charset="2"/>
              <a:buChar char="§"/>
              <a:defRPr/>
            </a:pPr>
            <a:r>
              <a:rPr lang="pt-BR" sz="1100" dirty="0"/>
              <a:t>A Eletronuclear também está se preparando para fazer frente aos desafios da expansão da capacidade de geração nuclear.</a:t>
            </a:r>
          </a:p>
          <a:p>
            <a:pPr defTabSz="544251">
              <a:defRPr/>
            </a:pPr>
            <a:endParaRPr lang="pt-BR" sz="1100" b="1" dirty="0">
              <a:solidFill>
                <a:srgbClr val="0090C6"/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53927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ítulo 3"/>
          <p:cNvSpPr txBox="1">
            <a:spLocks/>
          </p:cNvSpPr>
          <p:nvPr/>
        </p:nvSpPr>
        <p:spPr>
          <a:xfrm>
            <a:off x="479377" y="51266"/>
            <a:ext cx="10657183" cy="817561"/>
          </a:xfrm>
          <a:prstGeom prst="rect">
            <a:avLst/>
          </a:prstGeom>
        </p:spPr>
        <p:txBody>
          <a:bodyPr anchor="b"/>
          <a:lstStyle>
            <a:lvl1pPr algn="ctr" defTabSz="1219170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2800" kern="800" spc="-53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BR" dirty="0">
                <a:latin typeface="Open Sans Light" panose="020B0604020202020204" charset="0"/>
                <a:ea typeface="Open Sans Light" panose="020B0604020202020204" charset="0"/>
                <a:cs typeface="Open Sans Light" panose="020B0604020202020204" charset="0"/>
              </a:rPr>
              <a:t>ODS 8 – TRABALHO DIGNO E CRESCIMENTO ECONÔMICO</a:t>
            </a:r>
            <a:endParaRPr lang="pt-BR" dirty="0">
              <a:solidFill>
                <a:srgbClr val="CAD82A"/>
              </a:solidFill>
              <a:latin typeface="Open Sans Light" panose="020B0604020202020204" charset="0"/>
              <a:ea typeface="Open Sans Light" panose="020B0604020202020204" charset="0"/>
              <a:cs typeface="Open Sans Light" panose="020B0604020202020204" charset="0"/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 bwMode="auto">
          <a:xfrm>
            <a:off x="557282" y="1226009"/>
            <a:ext cx="9490958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850" tIns="54425" rIns="108850" bIns="54425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8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33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9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defTabSz="542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defTabSz="542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defTabSz="542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defTabSz="542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pt-BR" altLang="pt-BR" sz="17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Open Sans Light" panose="020B0604020202020204" charset="0"/>
                <a:ea typeface="Open Sans Light" panose="020B0604020202020204" charset="0"/>
                <a:cs typeface="Open Sans Light" panose="020B0604020202020204" charset="0"/>
              </a:rPr>
              <a:t>Frequência de acidentes (com afastamento – empregados próprios)</a:t>
            </a:r>
          </a:p>
          <a:p>
            <a:pPr>
              <a:spcBef>
                <a:spcPct val="0"/>
              </a:spcBef>
              <a:buNone/>
            </a:pPr>
            <a:r>
              <a:rPr lang="pt-BR" altLang="pt-BR" sz="1400" dirty="0">
                <a:solidFill>
                  <a:schemeClr val="tx1">
                    <a:lumMod val="90000"/>
                    <a:lumOff val="10000"/>
                  </a:schemeClr>
                </a:solidFill>
                <a:latin typeface="Open Sans Light" charset="0"/>
                <a:ea typeface="Open Sans Light" panose="020B0604020202020204" charset="0"/>
                <a:cs typeface="Open Sans Light" panose="020B0604020202020204" charset="0"/>
              </a:rPr>
              <a:t>(nº de acidentes x 1.000.000/horas homem de exposição ao risco)</a:t>
            </a:r>
          </a:p>
          <a:p>
            <a:pPr>
              <a:spcBef>
                <a:spcPct val="0"/>
              </a:spcBef>
              <a:buFont typeface="Arial" charset="0"/>
              <a:buNone/>
            </a:pPr>
            <a:endParaRPr lang="en-US" altLang="pt-BR" sz="1400" dirty="0">
              <a:solidFill>
                <a:schemeClr val="tx1">
                  <a:lumMod val="90000"/>
                  <a:lumOff val="10000"/>
                </a:schemeClr>
              </a:solidFill>
              <a:latin typeface="Open Sans Light" panose="020B0604020202020204" charset="0"/>
              <a:ea typeface="Open Sans Light" panose="020B0604020202020204" charset="0"/>
              <a:cs typeface="Open Sans Light" panose="020B0604020202020204" charset="0"/>
            </a:endParaRPr>
          </a:p>
          <a:p>
            <a:pPr>
              <a:spcBef>
                <a:spcPct val="0"/>
              </a:spcBef>
              <a:buFontTx/>
              <a:buNone/>
            </a:pPr>
            <a:endParaRPr lang="en-US" altLang="pt-BR" sz="1400" b="1" dirty="0">
              <a:solidFill>
                <a:schemeClr val="tx1">
                  <a:lumMod val="90000"/>
                  <a:lumOff val="10000"/>
                </a:schemeClr>
              </a:solidFill>
              <a:latin typeface="Open Sans Light" panose="020B0604020202020204" charset="0"/>
              <a:ea typeface="Open Sans Light" panose="020B0604020202020204" charset="0"/>
              <a:cs typeface="Open Sans Light" panose="020B0604020202020204" charset="0"/>
            </a:endParaRPr>
          </a:p>
        </p:txBody>
      </p:sp>
      <p:grpSp>
        <p:nvGrpSpPr>
          <p:cNvPr id="27" name="Grupo 26"/>
          <p:cNvGrpSpPr/>
          <p:nvPr/>
        </p:nvGrpSpPr>
        <p:grpSpPr>
          <a:xfrm>
            <a:off x="752885" y="2024765"/>
            <a:ext cx="3402625" cy="261610"/>
            <a:chOff x="5857916" y="964467"/>
            <a:chExt cx="3402625" cy="261610"/>
          </a:xfrm>
        </p:grpSpPr>
        <p:grpSp>
          <p:nvGrpSpPr>
            <p:cNvPr id="28" name="Grupo 31"/>
            <p:cNvGrpSpPr>
              <a:grpSpLocks/>
            </p:cNvGrpSpPr>
            <p:nvPr/>
          </p:nvGrpSpPr>
          <p:grpSpPr bwMode="auto">
            <a:xfrm>
              <a:off x="5857916" y="964467"/>
              <a:ext cx="1142603" cy="261610"/>
              <a:chOff x="1741233" y="1465764"/>
              <a:chExt cx="1142802" cy="261442"/>
            </a:xfrm>
          </p:grpSpPr>
          <p:sp>
            <p:nvSpPr>
              <p:cNvPr id="33" name="Seta para baixo 32"/>
              <p:cNvSpPr/>
              <p:nvPr/>
            </p:nvSpPr>
            <p:spPr>
              <a:xfrm>
                <a:off x="1741233" y="1519540"/>
                <a:ext cx="126228" cy="153890"/>
              </a:xfrm>
              <a:prstGeom prst="downArrow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544251">
                  <a:defRPr/>
                </a:pPr>
                <a:endParaRPr lang="pt-BR" sz="1800">
                  <a:latin typeface="+mj-lt"/>
                </a:endParaRPr>
              </a:p>
            </p:txBody>
          </p:sp>
          <p:sp>
            <p:nvSpPr>
              <p:cNvPr id="34" name="CaixaDeTexto 33"/>
              <p:cNvSpPr txBox="1"/>
              <p:nvPr/>
            </p:nvSpPr>
            <p:spPr>
              <a:xfrm>
                <a:off x="1804347" y="1465764"/>
                <a:ext cx="1079688" cy="261442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defTabSz="544251">
                  <a:defRPr/>
                </a:pPr>
                <a:r>
                  <a:rPr lang="pt-BR" sz="1100">
                    <a:solidFill>
                      <a:schemeClr val="bg1">
                        <a:lumMod val="50000"/>
                      </a:schemeClr>
                    </a:solidFill>
                    <a:latin typeface="+mj-lt"/>
                  </a:rPr>
                  <a:t>Melhor</a:t>
                </a:r>
              </a:p>
            </p:txBody>
          </p:sp>
        </p:grpSp>
        <p:sp>
          <p:nvSpPr>
            <p:cNvPr id="31" name="CaixaDeTexto 30"/>
            <p:cNvSpPr txBox="1"/>
            <p:nvPr/>
          </p:nvSpPr>
          <p:spPr bwMode="auto">
            <a:xfrm>
              <a:off x="6702511" y="964467"/>
              <a:ext cx="2558030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544251">
                <a:defRPr/>
              </a:pPr>
              <a:r>
                <a:rPr lang="pt-BR" sz="1100" dirty="0">
                  <a:solidFill>
                    <a:schemeClr val="bg1">
                      <a:lumMod val="50000"/>
                    </a:schemeClr>
                  </a:solidFill>
                  <a:latin typeface="+mj-lt"/>
                  <a:cs typeface="Arial" charset="0"/>
                </a:rPr>
                <a:t>Meta  atingida</a:t>
              </a:r>
            </a:p>
          </p:txBody>
        </p:sp>
        <p:cxnSp>
          <p:nvCxnSpPr>
            <p:cNvPr id="30" name="Conector reto 29"/>
            <p:cNvCxnSpPr/>
            <p:nvPr/>
          </p:nvCxnSpPr>
          <p:spPr>
            <a:xfrm>
              <a:off x="6520741" y="981652"/>
              <a:ext cx="0" cy="21600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CaixaDeTexto 18">
            <a:hlinkClick r:id="rId2" action="ppaction://hlinksldjump"/>
          </p:cNvPr>
          <p:cNvSpPr txBox="1"/>
          <p:nvPr/>
        </p:nvSpPr>
        <p:spPr>
          <a:xfrm>
            <a:off x="6541312" y="6484791"/>
            <a:ext cx="7473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&lt; Menu&gt;</a:t>
            </a:r>
          </a:p>
        </p:txBody>
      </p:sp>
      <p:sp>
        <p:nvSpPr>
          <p:cNvPr id="22" name="Divisa 142">
            <a:hlinkClick r:id="rId3" action="ppaction://hlinksldjump"/>
            <a:extLst>
              <a:ext uri="{FF2B5EF4-FFF2-40B4-BE49-F238E27FC236}">
                <a16:creationId xmlns:a16="http://schemas.microsoft.com/office/drawing/2014/main" id="{08E9E7DB-FE48-4229-849E-6FEF188CF0ED}"/>
              </a:ext>
            </a:extLst>
          </p:cNvPr>
          <p:cNvSpPr/>
          <p:nvPr/>
        </p:nvSpPr>
        <p:spPr>
          <a:xfrm rot="10800000">
            <a:off x="11238130" y="6280706"/>
            <a:ext cx="180000" cy="180000"/>
          </a:xfrm>
          <a:prstGeom prst="chevron">
            <a:avLst/>
          </a:prstGeom>
          <a:solidFill>
            <a:srgbClr val="3084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0DE4C309-CA6C-453A-A7D0-E96A37812652}"/>
              </a:ext>
            </a:extLst>
          </p:cNvPr>
          <p:cNvSpPr txBox="1"/>
          <p:nvPr/>
        </p:nvSpPr>
        <p:spPr>
          <a:xfrm>
            <a:off x="7370120" y="1250034"/>
            <a:ext cx="4453707" cy="435723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850" tIns="54425" rIns="108850" bIns="54425">
            <a:spAutoFit/>
          </a:bodyPr>
          <a:lstStyle/>
          <a:p>
            <a:pPr defTabSz="544251">
              <a:defRPr/>
            </a:pPr>
            <a:endParaRPr lang="pt-BR" sz="1100" dirty="0"/>
          </a:p>
          <a:p>
            <a:r>
              <a:rPr lang="pt-BR" sz="1600" b="1" dirty="0"/>
              <a:t>Ocorrência de apenas 2 acidentes com afastamento ocorrido em 2022</a:t>
            </a:r>
          </a:p>
          <a:p>
            <a:endParaRPr lang="pt-BR" sz="800" b="1" dirty="0"/>
          </a:p>
          <a:p>
            <a:r>
              <a:rPr lang="pt-BR" sz="1100" dirty="0"/>
              <a:t> Plano de ação:</a:t>
            </a:r>
          </a:p>
          <a:p>
            <a:r>
              <a:rPr lang="pt-BR" sz="1100" dirty="0"/>
              <a:t>1)Melhoria técnica : instalação de escada modular para acesso seguro . Divulgação do acidente em DDS (Diálogo Diário de Segurança).</a:t>
            </a:r>
          </a:p>
          <a:p>
            <a:endParaRPr lang="pt-BR" sz="800" dirty="0"/>
          </a:p>
          <a:p>
            <a:r>
              <a:rPr lang="pt-BR" sz="1100" dirty="0"/>
              <a:t>2) Implantação integral do Projeto Energia, Segurança de Saúde ocupacional nas empresas Eletrobras com a consultoria Dupont </a:t>
            </a:r>
            <a:r>
              <a:rPr lang="pt-BR" sz="1100" dirty="0" err="1"/>
              <a:t>Sustainable</a:t>
            </a:r>
            <a:r>
              <a:rPr lang="pt-BR" sz="1100" dirty="0"/>
              <a:t> </a:t>
            </a:r>
            <a:r>
              <a:rPr lang="pt-BR" sz="1100" dirty="0" err="1"/>
              <a:t>Solutions</a:t>
            </a:r>
            <a:r>
              <a:rPr lang="pt-BR" sz="1100" dirty="0"/>
              <a:t> - DSS através das ações abaixo: </a:t>
            </a:r>
          </a:p>
          <a:p>
            <a:pPr marL="628650" lvl="1" indent="-171450">
              <a:buFont typeface="Wingdings" panose="05000000000000000000" pitchFamily="2" charset="2"/>
              <a:buChar char="§"/>
            </a:pPr>
            <a:r>
              <a:rPr lang="pt-BR" sz="1100" dirty="0"/>
              <a:t>Realização dos fóruns de governança de SSO e desdobramento para as </a:t>
            </a:r>
            <a:r>
              <a:rPr lang="pt-BR" sz="1100" dirty="0" err="1"/>
              <a:t>UOs</a:t>
            </a:r>
            <a:r>
              <a:rPr lang="pt-BR" sz="1100" dirty="0"/>
              <a:t> - Iniciado com 67% concluído;</a:t>
            </a:r>
          </a:p>
          <a:p>
            <a:pPr marL="628650" lvl="1" indent="-171450">
              <a:buFont typeface="Wingdings" panose="05000000000000000000" pitchFamily="2" charset="2"/>
              <a:buChar char="§"/>
            </a:pPr>
            <a:r>
              <a:rPr lang="pt-BR" sz="1100" dirty="0"/>
              <a:t>Plano de Implementação do </a:t>
            </a:r>
            <a:r>
              <a:rPr lang="pt-BR" sz="1100" dirty="0" err="1"/>
              <a:t>Risk</a:t>
            </a:r>
            <a:r>
              <a:rPr lang="pt-BR" sz="1100" dirty="0"/>
              <a:t> </a:t>
            </a:r>
            <a:r>
              <a:rPr lang="pt-BR" sz="1100" dirty="0" err="1"/>
              <a:t>Factor</a:t>
            </a:r>
            <a:r>
              <a:rPr lang="pt-BR" sz="1100" dirty="0"/>
              <a:t> (para força de trabalho) - Iniciado com 75 % concluído; </a:t>
            </a:r>
          </a:p>
          <a:p>
            <a:pPr marL="628650" lvl="1" indent="-171450">
              <a:buFont typeface="Wingdings" panose="05000000000000000000" pitchFamily="2" charset="2"/>
              <a:buChar char="§"/>
            </a:pPr>
            <a:r>
              <a:rPr lang="pt-BR" sz="1100" dirty="0"/>
              <a:t>Implementação das Ferramentas Preventivas (Gestão de Incidentes, IPS, Observação Comportamental) - Iniciado com 70% concluído;</a:t>
            </a:r>
          </a:p>
          <a:p>
            <a:pPr marL="628650" lvl="1" indent="-171450">
              <a:buFont typeface="Wingdings" panose="05000000000000000000" pitchFamily="2" charset="2"/>
              <a:buChar char="§"/>
            </a:pPr>
            <a:r>
              <a:rPr lang="pt-BR" sz="1100" dirty="0"/>
              <a:t>Implementação das Ferramentas Digitais (Dashboard e módulo das ferramentas preventivas) - Iniciado com 60% concluído;</a:t>
            </a:r>
          </a:p>
          <a:p>
            <a:endParaRPr lang="pt-BR" sz="800" dirty="0"/>
          </a:p>
          <a:p>
            <a:r>
              <a:rPr lang="pt-BR" sz="1100" dirty="0"/>
              <a:t>3) Sendo estudado junto à DSS+ um contrato para novo Projeto de prevenção de acidentes customizado para as necessidades da Eletronuclear, devido saída do Grupo Eletrobras.</a:t>
            </a:r>
          </a:p>
          <a:p>
            <a:pPr defTabSz="544251">
              <a:defRPr/>
            </a:pPr>
            <a:endParaRPr lang="pt-BR" sz="1100" b="1" dirty="0">
              <a:solidFill>
                <a:srgbClr val="0090C6"/>
              </a:solidFill>
              <a:ea typeface="Verdana" pitchFamily="34" charset="0"/>
              <a:cs typeface="Verdana" pitchFamily="34" charset="0"/>
            </a:endParaRPr>
          </a:p>
        </p:txBody>
      </p:sp>
      <p:graphicFrame>
        <p:nvGraphicFramePr>
          <p:cNvPr id="20" name="Content Placeholder 5">
            <a:extLst>
              <a:ext uri="{FF2B5EF4-FFF2-40B4-BE49-F238E27FC236}">
                <a16:creationId xmlns:a16="http://schemas.microsoft.com/office/drawing/2014/main" id="{C74C43DD-EFD4-4A3C-886E-9C0A3E9DAB1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5290939"/>
              </p:ext>
            </p:extLst>
          </p:nvPr>
        </p:nvGraphicFramePr>
        <p:xfrm>
          <a:off x="1022390" y="2171002"/>
          <a:ext cx="6266241" cy="36725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Retângulo 15"/>
          <p:cNvSpPr/>
          <p:nvPr/>
        </p:nvSpPr>
        <p:spPr>
          <a:xfrm>
            <a:off x="131884" y="6427176"/>
            <a:ext cx="9082453" cy="3604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7" name="Imagem 4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63"/>
          <a:stretch>
            <a:fillRect/>
          </a:stretch>
        </p:blipFill>
        <p:spPr bwMode="auto">
          <a:xfrm>
            <a:off x="1515991" y="2058639"/>
            <a:ext cx="141245" cy="16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47871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ítulo 3"/>
          <p:cNvSpPr txBox="1">
            <a:spLocks/>
          </p:cNvSpPr>
          <p:nvPr/>
        </p:nvSpPr>
        <p:spPr>
          <a:xfrm>
            <a:off x="479377" y="51266"/>
            <a:ext cx="10657183" cy="817561"/>
          </a:xfrm>
          <a:prstGeom prst="rect">
            <a:avLst/>
          </a:prstGeom>
        </p:spPr>
        <p:txBody>
          <a:bodyPr anchor="b"/>
          <a:lstStyle>
            <a:lvl1pPr algn="ctr" defTabSz="1219170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2800" kern="800" spc="-53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BR" dirty="0">
                <a:latin typeface="Open Sans Light" panose="020B0604020202020204" charset="0"/>
                <a:ea typeface="Open Sans Light" panose="020B0604020202020204" charset="0"/>
                <a:cs typeface="Open Sans Light" panose="020B0604020202020204" charset="0"/>
              </a:rPr>
              <a:t>ODS 8 - TRABALHO DÍGNO E CRESCIMENTO ECONÔMICO</a:t>
            </a:r>
            <a:endParaRPr lang="pt-BR" dirty="0">
              <a:solidFill>
                <a:srgbClr val="CAD82A"/>
              </a:solidFill>
              <a:latin typeface="Open Sans Light" panose="020B0604020202020204" charset="0"/>
              <a:ea typeface="Open Sans Light" panose="020B0604020202020204" charset="0"/>
              <a:cs typeface="Open Sans Light" panose="020B0604020202020204" charset="0"/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 bwMode="auto">
          <a:xfrm>
            <a:off x="557282" y="1226009"/>
            <a:ext cx="9490958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850" tIns="54425" rIns="108850" bIns="54425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8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33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9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defTabSz="542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defTabSz="542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defTabSz="542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defTabSz="542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pt-BR" altLang="pt-BR" sz="17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Open Sans Light" panose="020B0604020202020204" charset="0"/>
                <a:ea typeface="Open Sans Light" panose="020B0604020202020204" charset="0"/>
                <a:cs typeface="Open Sans Light" panose="020B0604020202020204" charset="0"/>
              </a:rPr>
              <a:t>Frequência de acidentes (com afastamento – terceiros)</a:t>
            </a:r>
          </a:p>
          <a:p>
            <a:pPr>
              <a:spcBef>
                <a:spcPct val="0"/>
              </a:spcBef>
              <a:buNone/>
            </a:pPr>
            <a:r>
              <a:rPr lang="pt-BR" altLang="pt-BR" sz="1400" dirty="0">
                <a:solidFill>
                  <a:schemeClr val="tx1">
                    <a:lumMod val="90000"/>
                    <a:lumOff val="10000"/>
                  </a:schemeClr>
                </a:solidFill>
                <a:latin typeface="Open Sans Light" charset="0"/>
                <a:ea typeface="Open Sans Light" panose="020B0604020202020204" charset="0"/>
                <a:cs typeface="Open Sans Light" panose="020B0604020202020204" charset="0"/>
              </a:rPr>
              <a:t>(nº de acidentes x 1.000.000/horas homem de exposição ao risco)</a:t>
            </a:r>
          </a:p>
          <a:p>
            <a:pPr>
              <a:spcBef>
                <a:spcPct val="0"/>
              </a:spcBef>
              <a:buFont typeface="Arial" charset="0"/>
              <a:buNone/>
            </a:pPr>
            <a:endParaRPr lang="en-US" altLang="pt-BR" sz="1400" dirty="0">
              <a:solidFill>
                <a:schemeClr val="tx1">
                  <a:lumMod val="90000"/>
                  <a:lumOff val="10000"/>
                </a:schemeClr>
              </a:solidFill>
              <a:latin typeface="Open Sans Light" panose="020B0604020202020204" charset="0"/>
              <a:ea typeface="Open Sans Light" panose="020B0604020202020204" charset="0"/>
              <a:cs typeface="Open Sans Light" panose="020B0604020202020204" charset="0"/>
            </a:endParaRPr>
          </a:p>
          <a:p>
            <a:pPr>
              <a:spcBef>
                <a:spcPct val="0"/>
              </a:spcBef>
              <a:buFontTx/>
              <a:buNone/>
            </a:pPr>
            <a:endParaRPr lang="en-US" altLang="pt-BR" sz="1400" b="1" dirty="0">
              <a:solidFill>
                <a:schemeClr val="tx1">
                  <a:lumMod val="90000"/>
                  <a:lumOff val="10000"/>
                </a:schemeClr>
              </a:solidFill>
              <a:latin typeface="Open Sans Light" panose="020B0604020202020204" charset="0"/>
              <a:ea typeface="Open Sans Light" panose="020B0604020202020204" charset="0"/>
              <a:cs typeface="Open Sans Light" panose="020B0604020202020204" charset="0"/>
            </a:endParaRPr>
          </a:p>
        </p:txBody>
      </p:sp>
      <p:grpSp>
        <p:nvGrpSpPr>
          <p:cNvPr id="27" name="Grupo 26"/>
          <p:cNvGrpSpPr/>
          <p:nvPr/>
        </p:nvGrpSpPr>
        <p:grpSpPr>
          <a:xfrm>
            <a:off x="741495" y="2007706"/>
            <a:ext cx="3402625" cy="261610"/>
            <a:chOff x="5857916" y="964467"/>
            <a:chExt cx="3402625" cy="261610"/>
          </a:xfrm>
        </p:grpSpPr>
        <p:grpSp>
          <p:nvGrpSpPr>
            <p:cNvPr id="28" name="Grupo 31"/>
            <p:cNvGrpSpPr>
              <a:grpSpLocks/>
            </p:cNvGrpSpPr>
            <p:nvPr/>
          </p:nvGrpSpPr>
          <p:grpSpPr bwMode="auto">
            <a:xfrm>
              <a:off x="5857916" y="964467"/>
              <a:ext cx="1142603" cy="261610"/>
              <a:chOff x="1741233" y="1465764"/>
              <a:chExt cx="1142802" cy="261442"/>
            </a:xfrm>
          </p:grpSpPr>
          <p:sp>
            <p:nvSpPr>
              <p:cNvPr id="33" name="Seta para baixo 32"/>
              <p:cNvSpPr/>
              <p:nvPr/>
            </p:nvSpPr>
            <p:spPr>
              <a:xfrm>
                <a:off x="1741233" y="1519540"/>
                <a:ext cx="126228" cy="153890"/>
              </a:xfrm>
              <a:prstGeom prst="downArrow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544251">
                  <a:defRPr/>
                </a:pPr>
                <a:endParaRPr lang="pt-BR" sz="1800">
                  <a:latin typeface="+mj-lt"/>
                </a:endParaRPr>
              </a:p>
            </p:txBody>
          </p:sp>
          <p:sp>
            <p:nvSpPr>
              <p:cNvPr id="34" name="CaixaDeTexto 33"/>
              <p:cNvSpPr txBox="1"/>
              <p:nvPr/>
            </p:nvSpPr>
            <p:spPr>
              <a:xfrm>
                <a:off x="1804347" y="1465764"/>
                <a:ext cx="1079688" cy="261442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defTabSz="544251">
                  <a:defRPr/>
                </a:pPr>
                <a:r>
                  <a:rPr lang="pt-BR" sz="1100">
                    <a:solidFill>
                      <a:schemeClr val="bg1">
                        <a:lumMod val="50000"/>
                      </a:schemeClr>
                    </a:solidFill>
                    <a:latin typeface="+mj-lt"/>
                  </a:rPr>
                  <a:t>Melhor</a:t>
                </a:r>
              </a:p>
            </p:txBody>
          </p:sp>
        </p:grpSp>
        <p:sp>
          <p:nvSpPr>
            <p:cNvPr id="31" name="CaixaDeTexto 30"/>
            <p:cNvSpPr txBox="1"/>
            <p:nvPr/>
          </p:nvSpPr>
          <p:spPr bwMode="auto">
            <a:xfrm>
              <a:off x="6702511" y="964467"/>
              <a:ext cx="2558030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544251">
                <a:defRPr/>
              </a:pPr>
              <a:r>
                <a:rPr lang="pt-BR" sz="1100" dirty="0">
                  <a:solidFill>
                    <a:schemeClr val="bg1">
                      <a:lumMod val="50000"/>
                    </a:schemeClr>
                  </a:solidFill>
                  <a:latin typeface="+mj-lt"/>
                  <a:cs typeface="Arial" charset="0"/>
                </a:rPr>
                <a:t>Meta não  atingida</a:t>
              </a:r>
            </a:p>
          </p:txBody>
        </p:sp>
        <p:cxnSp>
          <p:nvCxnSpPr>
            <p:cNvPr id="30" name="Conector reto 29"/>
            <p:cNvCxnSpPr/>
            <p:nvPr/>
          </p:nvCxnSpPr>
          <p:spPr>
            <a:xfrm>
              <a:off x="6520741" y="981652"/>
              <a:ext cx="0" cy="21600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CaixaDeTexto 18">
            <a:hlinkClick r:id="rId2" action="ppaction://hlinksldjump"/>
          </p:cNvPr>
          <p:cNvSpPr txBox="1"/>
          <p:nvPr/>
        </p:nvSpPr>
        <p:spPr>
          <a:xfrm>
            <a:off x="6541312" y="6484791"/>
            <a:ext cx="7473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100">
                <a:solidFill>
                  <a:schemeClr val="tx1">
                    <a:lumMod val="50000"/>
                    <a:lumOff val="50000"/>
                  </a:schemeClr>
                </a:solidFill>
              </a:rPr>
              <a:t>&lt; Menu&gt;</a:t>
            </a:r>
          </a:p>
        </p:txBody>
      </p:sp>
      <p:sp>
        <p:nvSpPr>
          <p:cNvPr id="22" name="Divisa 142">
            <a:hlinkClick r:id="rId3" action="ppaction://hlinksldjump"/>
            <a:extLst>
              <a:ext uri="{FF2B5EF4-FFF2-40B4-BE49-F238E27FC236}">
                <a16:creationId xmlns:a16="http://schemas.microsoft.com/office/drawing/2014/main" id="{08E9E7DB-FE48-4229-849E-6FEF188CF0ED}"/>
              </a:ext>
            </a:extLst>
          </p:cNvPr>
          <p:cNvSpPr/>
          <p:nvPr/>
        </p:nvSpPr>
        <p:spPr>
          <a:xfrm rot="10800000">
            <a:off x="11525513" y="6370707"/>
            <a:ext cx="180000" cy="180000"/>
          </a:xfrm>
          <a:prstGeom prst="chevron">
            <a:avLst/>
          </a:prstGeom>
          <a:solidFill>
            <a:srgbClr val="3084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0DE4C309-CA6C-453A-A7D0-E96A37812652}"/>
              </a:ext>
            </a:extLst>
          </p:cNvPr>
          <p:cNvSpPr txBox="1"/>
          <p:nvPr/>
        </p:nvSpPr>
        <p:spPr>
          <a:xfrm>
            <a:off x="6808124" y="1150068"/>
            <a:ext cx="4792171" cy="4934311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850" tIns="54425" rIns="108850" bIns="54425">
            <a:spAutoFit/>
          </a:bodyPr>
          <a:lstStyle/>
          <a:p>
            <a:r>
              <a:rPr lang="pt-BR" sz="1600" b="1" dirty="0"/>
              <a:t>Ocorreram  22 acidentes em 2022, sendo 5 no 1º trimestre, 4 no 2º trimestre e mais 7 no 3º trimestre, e 6 no 4º trimestre</a:t>
            </a:r>
          </a:p>
          <a:p>
            <a:endParaRPr lang="pt-BR" sz="1050" dirty="0"/>
          </a:p>
          <a:p>
            <a:r>
              <a:rPr lang="pt-BR" sz="1100" dirty="0"/>
              <a:t> Plano de ação:</a:t>
            </a:r>
          </a:p>
          <a:p>
            <a:pPr marL="228600" indent="-228600">
              <a:buAutoNum type="arabicParenR"/>
            </a:pPr>
            <a:r>
              <a:rPr lang="pt-BR" sz="1100" dirty="0"/>
              <a:t>Melhoria técnica: instalação de escada modular para acesso seguro. Divulgação do acidente em DDS (Diálogo Diário de Segurança).</a:t>
            </a:r>
          </a:p>
          <a:p>
            <a:endParaRPr lang="pt-BR" sz="800" dirty="0"/>
          </a:p>
          <a:p>
            <a:r>
              <a:rPr lang="pt-BR" sz="1100" dirty="0"/>
              <a:t>2) Implantação integral do Projeto Energia, Segurança de Saúde ocupacional nas empresas Eletrobras com a consultoria Dupont </a:t>
            </a:r>
            <a:r>
              <a:rPr lang="pt-BR" sz="1100" dirty="0" err="1"/>
              <a:t>Sustainable</a:t>
            </a:r>
            <a:r>
              <a:rPr lang="pt-BR" sz="1100" dirty="0"/>
              <a:t> </a:t>
            </a:r>
            <a:r>
              <a:rPr lang="pt-BR" sz="1100" dirty="0" err="1"/>
              <a:t>Solutions</a:t>
            </a:r>
            <a:r>
              <a:rPr lang="pt-BR" sz="1100" dirty="0"/>
              <a:t> - DSS através das ações abaixo: </a:t>
            </a:r>
          </a:p>
          <a:p>
            <a:pPr marL="628650" lvl="1" indent="-171450">
              <a:buFont typeface="Wingdings" panose="05000000000000000000" pitchFamily="2" charset="2"/>
              <a:buChar char="§"/>
            </a:pPr>
            <a:r>
              <a:rPr lang="pt-BR" sz="1100" dirty="0"/>
              <a:t>Realização dos fóruns de governança de SSO e desdobramento para as </a:t>
            </a:r>
            <a:r>
              <a:rPr lang="pt-BR" sz="1100" dirty="0" err="1"/>
              <a:t>UOs</a:t>
            </a:r>
            <a:r>
              <a:rPr lang="pt-BR" sz="1100" dirty="0"/>
              <a:t> - Iniciado com 67% concluído;</a:t>
            </a:r>
          </a:p>
          <a:p>
            <a:pPr marL="628650" lvl="1" indent="-171450">
              <a:buFont typeface="Wingdings" panose="05000000000000000000" pitchFamily="2" charset="2"/>
              <a:buChar char="§"/>
            </a:pPr>
            <a:r>
              <a:rPr lang="pt-BR" sz="1100" dirty="0"/>
              <a:t>Plano de Implementação do Risk Factor (para força de trabalho) - Iniciado com 75 % concluído; </a:t>
            </a:r>
          </a:p>
          <a:p>
            <a:pPr marL="628650" lvl="1" indent="-171450">
              <a:buFont typeface="Wingdings" panose="05000000000000000000" pitchFamily="2" charset="2"/>
              <a:buChar char="§"/>
            </a:pPr>
            <a:r>
              <a:rPr lang="pt-BR" sz="1100" dirty="0"/>
              <a:t>Implementação das Ferramentas Preventivas (Gestão de Incidentes, IPS, Observação Comportamental) - Iniciado com 70% concluído;</a:t>
            </a:r>
          </a:p>
          <a:p>
            <a:pPr marL="628650" lvl="1" indent="-171450">
              <a:buFont typeface="Wingdings" panose="05000000000000000000" pitchFamily="2" charset="2"/>
              <a:buChar char="§"/>
            </a:pPr>
            <a:r>
              <a:rPr lang="pt-BR" sz="1100" dirty="0"/>
              <a:t>Implementação das Ferramentas Digitais (Dashboard e módulo das ferramentas preventivas) - Iniciado com 60% concluído;</a:t>
            </a:r>
          </a:p>
          <a:p>
            <a:pPr marL="628650" lvl="1" indent="-171450">
              <a:buFont typeface="Courier New" panose="02070309020205020404" pitchFamily="49" charset="0"/>
              <a:buChar char="o"/>
            </a:pPr>
            <a:endParaRPr lang="pt-BR" sz="800" dirty="0"/>
          </a:p>
          <a:p>
            <a:r>
              <a:rPr lang="pt-BR" sz="1100" dirty="0"/>
              <a:t>3) Sendo estudado junto à DSS+ um contrato para novo Projeto de prevenção de acidentes customizado para as necessidades da Eletronuclear, devido saída do Grupo Eletrobras.</a:t>
            </a:r>
          </a:p>
          <a:p>
            <a:endParaRPr lang="pt-BR" sz="800" dirty="0"/>
          </a:p>
          <a:p>
            <a:r>
              <a:rPr lang="pt-BR" sz="1100" dirty="0"/>
              <a:t>4) Ajuste nas cláusulas de SSO na minuta padrão do contrato de terceirização. Está sendo trabalhado na DA envolvendo as áreas de Segurança do Trabalho e Aquisições. Será definido cronograma de finalização.</a:t>
            </a:r>
          </a:p>
          <a:p>
            <a:endParaRPr lang="pt-BR" sz="1100" dirty="0"/>
          </a:p>
        </p:txBody>
      </p:sp>
      <p:graphicFrame>
        <p:nvGraphicFramePr>
          <p:cNvPr id="20" name="Content Placeholder 5">
            <a:extLst>
              <a:ext uri="{FF2B5EF4-FFF2-40B4-BE49-F238E27FC236}">
                <a16:creationId xmlns:a16="http://schemas.microsoft.com/office/drawing/2014/main" id="{59303F9D-93DB-4300-A272-875889F09EF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87470549"/>
              </p:ext>
            </p:extLst>
          </p:nvPr>
        </p:nvGraphicFramePr>
        <p:xfrm>
          <a:off x="741495" y="2462318"/>
          <a:ext cx="6266241" cy="36725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21" name="Picture 2" descr="C:\Users\LARROSA\Desktop\n atingid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3080" y="2045030"/>
            <a:ext cx="140400" cy="239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tângulo 15"/>
          <p:cNvSpPr/>
          <p:nvPr/>
        </p:nvSpPr>
        <p:spPr>
          <a:xfrm>
            <a:off x="131885" y="6427176"/>
            <a:ext cx="6835586" cy="3604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607815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ítulo 3"/>
          <p:cNvSpPr txBox="1">
            <a:spLocks/>
          </p:cNvSpPr>
          <p:nvPr/>
        </p:nvSpPr>
        <p:spPr>
          <a:xfrm>
            <a:off x="479397" y="51286"/>
            <a:ext cx="10657183" cy="817561"/>
          </a:xfrm>
          <a:prstGeom prst="rect">
            <a:avLst/>
          </a:prstGeom>
        </p:spPr>
        <p:txBody>
          <a:bodyPr anchor="b"/>
          <a:lstStyle>
            <a:lvl1pPr algn="ctr" defTabSz="1219170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2800" kern="800" spc="-53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BR" dirty="0">
                <a:solidFill>
                  <a:srgbClr val="595959"/>
                </a:solidFill>
                <a:latin typeface="Open Sans Light" panose="020B0604020202020204" charset="0"/>
                <a:ea typeface="Open Sans Light" panose="020B0604020202020204" charset="0"/>
                <a:cs typeface="Open Sans Light" panose="020B0604020202020204" charset="0"/>
              </a:rPr>
              <a:t>ODS 9 – INOVAÇÃO E INFRAESTRUTURA</a:t>
            </a:r>
          </a:p>
        </p:txBody>
      </p:sp>
      <p:sp>
        <p:nvSpPr>
          <p:cNvPr id="57" name="CaixaDeTexto 56">
            <a:hlinkClick r:id="rId2" action="ppaction://hlinksldjump"/>
          </p:cNvPr>
          <p:cNvSpPr txBox="1"/>
          <p:nvPr/>
        </p:nvSpPr>
        <p:spPr>
          <a:xfrm>
            <a:off x="6012115" y="6474189"/>
            <a:ext cx="53572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100" dirty="0">
                <a:solidFill>
                  <a:srgbClr val="595959">
                    <a:lumMod val="50000"/>
                    <a:lumOff val="50000"/>
                  </a:srgbClr>
                </a:solidFill>
              </a:rPr>
              <a:t>CMD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50BA99E-C127-4D89-A69B-4AD20202A75C}"/>
              </a:ext>
            </a:extLst>
          </p:cNvPr>
          <p:cNvSpPr txBox="1">
            <a:spLocks/>
          </p:cNvSpPr>
          <p:nvPr/>
        </p:nvSpPr>
        <p:spPr bwMode="auto">
          <a:xfrm>
            <a:off x="566552" y="1030907"/>
            <a:ext cx="5741483" cy="498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850" tIns="54425" rIns="108850" bIns="54425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8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33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9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defTabSz="542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defTabSz="542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defTabSz="542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defTabSz="542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pt-BR" altLang="pt-BR" sz="2000" dirty="0">
                <a:solidFill>
                  <a:srgbClr val="040404"/>
                </a:solidFill>
                <a:latin typeface="Calibri"/>
                <a:cs typeface="Arial" charset="0"/>
              </a:rPr>
              <a:t>Automação digital para otimização do trabalho</a:t>
            </a:r>
          </a:p>
        </p:txBody>
      </p:sp>
      <p:grpSp>
        <p:nvGrpSpPr>
          <p:cNvPr id="26" name="Grupo 20">
            <a:extLst>
              <a:ext uri="{FF2B5EF4-FFF2-40B4-BE49-F238E27FC236}">
                <a16:creationId xmlns:a16="http://schemas.microsoft.com/office/drawing/2014/main" id="{5AC631A0-2421-48BA-98D0-CDC02E16926E}"/>
              </a:ext>
            </a:extLst>
          </p:cNvPr>
          <p:cNvGrpSpPr/>
          <p:nvPr/>
        </p:nvGrpSpPr>
        <p:grpSpPr>
          <a:xfrm>
            <a:off x="696116" y="1803998"/>
            <a:ext cx="2161016" cy="317850"/>
            <a:chOff x="7593410" y="1169741"/>
            <a:chExt cx="1839290" cy="261610"/>
          </a:xfrm>
        </p:grpSpPr>
        <p:grpSp>
          <p:nvGrpSpPr>
            <p:cNvPr id="27" name="Grupo 31">
              <a:extLst>
                <a:ext uri="{FF2B5EF4-FFF2-40B4-BE49-F238E27FC236}">
                  <a16:creationId xmlns:a16="http://schemas.microsoft.com/office/drawing/2014/main" id="{D2718833-1FA4-4295-BC7A-B344CF92EC4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593410" y="1169741"/>
              <a:ext cx="1142603" cy="261610"/>
              <a:chOff x="3477032" y="1670906"/>
              <a:chExt cx="1142802" cy="261442"/>
            </a:xfrm>
          </p:grpSpPr>
          <p:sp>
            <p:nvSpPr>
              <p:cNvPr id="36" name="CaixaDeTexto 35">
                <a:extLst>
                  <a:ext uri="{FF2B5EF4-FFF2-40B4-BE49-F238E27FC236}">
                    <a16:creationId xmlns:a16="http://schemas.microsoft.com/office/drawing/2014/main" id="{04FDA505-C01B-4397-BCFC-571BF9F00006}"/>
                  </a:ext>
                </a:extLst>
              </p:cNvPr>
              <p:cNvSpPr txBox="1"/>
              <p:nvPr/>
            </p:nvSpPr>
            <p:spPr>
              <a:xfrm>
                <a:off x="3540146" y="1670906"/>
                <a:ext cx="1079688" cy="261442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defTabSz="544251">
                  <a:defRPr/>
                </a:pPr>
                <a:r>
                  <a:rPr lang="pt-BR" sz="1100" dirty="0">
                    <a:solidFill>
                      <a:schemeClr val="bg1">
                        <a:lumMod val="50000"/>
                      </a:schemeClr>
                    </a:solidFill>
                    <a:latin typeface="Open Sans Light"/>
                  </a:rPr>
                  <a:t>Melhor</a:t>
                </a:r>
              </a:p>
            </p:txBody>
          </p:sp>
          <p:sp>
            <p:nvSpPr>
              <p:cNvPr id="35" name="Seta para baixo 30">
                <a:extLst>
                  <a:ext uri="{FF2B5EF4-FFF2-40B4-BE49-F238E27FC236}">
                    <a16:creationId xmlns:a16="http://schemas.microsoft.com/office/drawing/2014/main" id="{1DEF55C1-1B15-4CCD-9475-23831B2F5BFE}"/>
                  </a:ext>
                </a:extLst>
              </p:cNvPr>
              <p:cNvSpPr/>
              <p:nvPr/>
            </p:nvSpPr>
            <p:spPr>
              <a:xfrm flipV="1">
                <a:off x="3477032" y="1724682"/>
                <a:ext cx="126228" cy="153890"/>
              </a:xfrm>
              <a:prstGeom prst="downArrow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544251">
                  <a:defRPr/>
                </a:pPr>
                <a:endParaRPr lang="pt-BR" sz="1800"/>
              </a:p>
            </p:txBody>
          </p:sp>
        </p:grpSp>
        <p:sp>
          <p:nvSpPr>
            <p:cNvPr id="33" name="CaixaDeTexto 32">
              <a:extLst>
                <a:ext uri="{FF2B5EF4-FFF2-40B4-BE49-F238E27FC236}">
                  <a16:creationId xmlns:a16="http://schemas.microsoft.com/office/drawing/2014/main" id="{D1F20393-30A7-4697-A5C3-F79623F3B551}"/>
                </a:ext>
              </a:extLst>
            </p:cNvPr>
            <p:cNvSpPr txBox="1"/>
            <p:nvPr/>
          </p:nvSpPr>
          <p:spPr bwMode="auto">
            <a:xfrm>
              <a:off x="8256238" y="1169742"/>
              <a:ext cx="1176462" cy="2153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 defTabSz="544251">
                <a:defRPr/>
              </a:pPr>
              <a:r>
                <a:rPr lang="pt-BR" sz="1100" dirty="0">
                  <a:solidFill>
                    <a:schemeClr val="bg1">
                      <a:lumMod val="50000"/>
                    </a:schemeClr>
                  </a:solidFill>
                  <a:latin typeface="Open Sans Light"/>
                  <a:cs typeface="Arial" charset="0"/>
                </a:rPr>
                <a:t>Meta atingida</a:t>
              </a:r>
            </a:p>
          </p:txBody>
        </p:sp>
        <p:cxnSp>
          <p:nvCxnSpPr>
            <p:cNvPr id="30" name="Conector reto 29">
              <a:extLst>
                <a:ext uri="{FF2B5EF4-FFF2-40B4-BE49-F238E27FC236}">
                  <a16:creationId xmlns:a16="http://schemas.microsoft.com/office/drawing/2014/main" id="{D5BFAD4B-A566-4E46-B8BA-0B23673DCB35}"/>
                </a:ext>
              </a:extLst>
            </p:cNvPr>
            <p:cNvCxnSpPr/>
            <p:nvPr/>
          </p:nvCxnSpPr>
          <p:spPr>
            <a:xfrm>
              <a:off x="8252961" y="1201865"/>
              <a:ext cx="0" cy="21600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090863" y="38068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pt-BR" altLang="pt-BR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</a:br>
            <a:endParaRPr kumimoji="0" lang="pt-BR" altLang="pt-B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838200" y="36814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pt-BR" altLang="pt-BR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</a:br>
            <a:endParaRPr kumimoji="0" lang="pt-BR" altLang="pt-B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4" name="Divisa 188">
            <a:hlinkClick r:id="rId3" action="ppaction://hlinksldjump"/>
            <a:extLst>
              <a:ext uri="{FF2B5EF4-FFF2-40B4-BE49-F238E27FC236}">
                <a16:creationId xmlns:a16="http://schemas.microsoft.com/office/drawing/2014/main" id="{4258E370-D817-43A6-9905-D387E085A1CD}"/>
              </a:ext>
            </a:extLst>
          </p:cNvPr>
          <p:cNvSpPr/>
          <p:nvPr/>
        </p:nvSpPr>
        <p:spPr>
          <a:xfrm rot="10800000">
            <a:off x="11619506" y="6384189"/>
            <a:ext cx="180000" cy="180000"/>
          </a:xfrm>
          <a:prstGeom prst="chevron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graphicFrame>
        <p:nvGraphicFramePr>
          <p:cNvPr id="37" name="Content Placeholder 5">
            <a:extLst>
              <a:ext uri="{FF2B5EF4-FFF2-40B4-BE49-F238E27FC236}">
                <a16:creationId xmlns:a16="http://schemas.microsoft.com/office/drawing/2014/main" id="{07C5BFE1-29CA-495B-A9C5-17D56BF9CB4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21539033"/>
              </p:ext>
            </p:extLst>
          </p:nvPr>
        </p:nvGraphicFramePr>
        <p:xfrm>
          <a:off x="566552" y="2751539"/>
          <a:ext cx="6139048" cy="27265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8" name="Retângulo 27"/>
          <p:cNvSpPr/>
          <p:nvPr/>
        </p:nvSpPr>
        <p:spPr>
          <a:xfrm>
            <a:off x="131884" y="6427176"/>
            <a:ext cx="10207869" cy="3604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1" name="Imagem 4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63"/>
          <a:stretch>
            <a:fillRect/>
          </a:stretch>
        </p:blipFill>
        <p:spPr bwMode="auto">
          <a:xfrm>
            <a:off x="1663595" y="1832764"/>
            <a:ext cx="141245" cy="16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CaixaDeTexto 21">
            <a:extLst>
              <a:ext uri="{FF2B5EF4-FFF2-40B4-BE49-F238E27FC236}">
                <a16:creationId xmlns:a16="http://schemas.microsoft.com/office/drawing/2014/main" id="{13FBCE8C-127D-4BB2-9B4B-933E233826DC}"/>
              </a:ext>
            </a:extLst>
          </p:cNvPr>
          <p:cNvSpPr txBox="1"/>
          <p:nvPr/>
        </p:nvSpPr>
        <p:spPr>
          <a:xfrm>
            <a:off x="6779741" y="961844"/>
            <a:ext cx="4792171" cy="4803506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850" tIns="54425" rIns="108850" bIns="54425">
            <a:spAutoFit/>
          </a:bodyPr>
          <a:lstStyle/>
          <a:p>
            <a:r>
              <a:rPr lang="pt-BR" sz="2000" b="1" dirty="0"/>
              <a:t>Foram entregues 12 robôs dos 12 previstos no ano</a:t>
            </a:r>
          </a:p>
          <a:p>
            <a:endParaRPr lang="pt-BR" sz="1600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pt-BR" sz="1400" dirty="0"/>
              <a:t>Indicador passou a ser medido em 2022 e teve um ótimo desempenho;</a:t>
            </a:r>
          </a:p>
          <a:p>
            <a:endParaRPr lang="pt-BR" sz="1400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pt-BR" sz="1400" dirty="0"/>
              <a:t>Os  principais robôs desenvolvidos no 3º e 4º trimestres foram:</a:t>
            </a:r>
          </a:p>
          <a:p>
            <a:endParaRPr lang="pt-BR" sz="1400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pt-BR" sz="1400" dirty="0"/>
              <a:t>Estes robôs possibilitaram a automatização de processos que trouxeram grande economia de HH da Empresa.</a:t>
            </a:r>
          </a:p>
          <a:p>
            <a:endParaRPr lang="pt-BR" sz="1400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pt-BR" sz="1400" dirty="0"/>
              <a:t>Para 2023, a Empresa tem a previsão de implementar mais 12 robôs.</a:t>
            </a:r>
          </a:p>
          <a:p>
            <a:endParaRPr lang="pt-BR" sz="1400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pt-BR" sz="1400" dirty="0"/>
              <a:t>Com a finalidade de estabelecer uma cultura de inovação foram realizadas contratações de ferramentas de automação, gerenciamento de projeto em nuvem, computação em nuvem (Azure) e Business </a:t>
            </a:r>
            <a:r>
              <a:rPr lang="pt-BR" sz="1400" dirty="0" err="1"/>
              <a:t>Intelligence</a:t>
            </a:r>
            <a:r>
              <a:rPr lang="pt-BR" sz="1400" dirty="0"/>
              <a:t> (ferramenta Power BI). </a:t>
            </a:r>
          </a:p>
          <a:p>
            <a:endParaRPr lang="pt-BR" sz="1100" dirty="0"/>
          </a:p>
        </p:txBody>
      </p:sp>
    </p:spTree>
    <p:extLst>
      <p:ext uri="{BB962C8B-B14F-4D97-AF65-F5344CB8AC3E}">
        <p14:creationId xmlns:p14="http://schemas.microsoft.com/office/powerpoint/2010/main" val="20975800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/>
          <p:cNvSpPr txBox="1">
            <a:spLocks/>
          </p:cNvSpPr>
          <p:nvPr/>
        </p:nvSpPr>
        <p:spPr bwMode="auto">
          <a:xfrm>
            <a:off x="611718" y="1124683"/>
            <a:ext cx="5868595" cy="498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850" tIns="54425" rIns="108850" bIns="54425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8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33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9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defTabSz="542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defTabSz="542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defTabSz="542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defTabSz="542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pt-BR" altLang="pt-BR" sz="1600" dirty="0">
                <a:solidFill>
                  <a:srgbClr val="040404"/>
                </a:solidFill>
                <a:latin typeface="Calibri"/>
                <a:cs typeface="Arial" charset="0"/>
              </a:rPr>
              <a:t>Índice Consolidado de Diversidade nas Posições Gerenciais e Processos Sucessórios</a:t>
            </a:r>
          </a:p>
        </p:txBody>
      </p:sp>
      <p:grpSp>
        <p:nvGrpSpPr>
          <p:cNvPr id="54" name="Grupo 53"/>
          <p:cNvGrpSpPr/>
          <p:nvPr/>
        </p:nvGrpSpPr>
        <p:grpSpPr>
          <a:xfrm>
            <a:off x="789109" y="1820179"/>
            <a:ext cx="2170814" cy="282310"/>
            <a:chOff x="7593410" y="1169741"/>
            <a:chExt cx="1420657" cy="282310"/>
          </a:xfrm>
        </p:grpSpPr>
        <p:grpSp>
          <p:nvGrpSpPr>
            <p:cNvPr id="55" name="Grupo 31"/>
            <p:cNvGrpSpPr>
              <a:grpSpLocks/>
            </p:cNvGrpSpPr>
            <p:nvPr/>
          </p:nvGrpSpPr>
          <p:grpSpPr bwMode="auto">
            <a:xfrm>
              <a:off x="7593410" y="1169741"/>
              <a:ext cx="1142603" cy="261610"/>
              <a:chOff x="3477032" y="1670906"/>
              <a:chExt cx="1142802" cy="261442"/>
            </a:xfrm>
          </p:grpSpPr>
          <p:sp>
            <p:nvSpPr>
              <p:cNvPr id="60" name="Seta para baixo 59"/>
              <p:cNvSpPr/>
              <p:nvPr/>
            </p:nvSpPr>
            <p:spPr>
              <a:xfrm flipV="1">
                <a:off x="3477032" y="1724682"/>
                <a:ext cx="126228" cy="153890"/>
              </a:xfrm>
              <a:prstGeom prst="downArrow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544251">
                  <a:defRPr/>
                </a:pPr>
                <a:endParaRPr lang="pt-BR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CaixaDeTexto 60"/>
              <p:cNvSpPr txBox="1"/>
              <p:nvPr/>
            </p:nvSpPr>
            <p:spPr>
              <a:xfrm>
                <a:off x="3540146" y="1670906"/>
                <a:ext cx="1079688" cy="261442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defTabSz="544251">
                  <a:defRPr/>
                </a:pPr>
                <a:r>
                  <a:rPr lang="pt-BR" sz="1100" dirty="0">
                    <a:solidFill>
                      <a:prstClr val="white">
                        <a:lumMod val="50000"/>
                      </a:prstClr>
                    </a:solidFill>
                    <a:latin typeface="Open Sans Light"/>
                  </a:rPr>
                  <a:t>Melhor</a:t>
                </a:r>
              </a:p>
            </p:txBody>
          </p:sp>
        </p:grpSp>
        <p:sp>
          <p:nvSpPr>
            <p:cNvPr id="58" name="CaixaDeTexto 57"/>
            <p:cNvSpPr txBox="1"/>
            <p:nvPr/>
          </p:nvSpPr>
          <p:spPr bwMode="auto">
            <a:xfrm>
              <a:off x="8269523" y="1190441"/>
              <a:ext cx="744544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 defTabSz="544251">
                <a:defRPr/>
              </a:pPr>
              <a:endParaRPr lang="pt-BR" sz="1100" dirty="0">
                <a:solidFill>
                  <a:prstClr val="white">
                    <a:lumMod val="50000"/>
                  </a:prstClr>
                </a:solidFill>
                <a:latin typeface="Open Sans Light"/>
                <a:cs typeface="Arial" charset="0"/>
              </a:endParaRPr>
            </a:p>
          </p:txBody>
        </p:sp>
        <p:cxnSp>
          <p:nvCxnSpPr>
            <p:cNvPr id="57" name="Conector reto 56"/>
            <p:cNvCxnSpPr/>
            <p:nvPr/>
          </p:nvCxnSpPr>
          <p:spPr>
            <a:xfrm>
              <a:off x="8256240" y="1196259"/>
              <a:ext cx="0" cy="21600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ítulo 3">
            <a:extLst>
              <a:ext uri="{FF2B5EF4-FFF2-40B4-BE49-F238E27FC236}">
                <a16:creationId xmlns:a16="http://schemas.microsoft.com/office/drawing/2014/main" id="{5F2A9FFD-DE20-407D-9920-5E9FA81B21B1}"/>
              </a:ext>
            </a:extLst>
          </p:cNvPr>
          <p:cNvSpPr txBox="1">
            <a:spLocks/>
          </p:cNvSpPr>
          <p:nvPr/>
        </p:nvSpPr>
        <p:spPr>
          <a:xfrm>
            <a:off x="479397" y="51286"/>
            <a:ext cx="10657183" cy="817561"/>
          </a:xfrm>
          <a:prstGeom prst="rect">
            <a:avLst/>
          </a:prstGeom>
        </p:spPr>
        <p:txBody>
          <a:bodyPr anchor="b"/>
          <a:lstStyle>
            <a:lvl1pPr algn="ctr" defTabSz="1219170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2800" kern="800" spc="-53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BR" dirty="0">
                <a:solidFill>
                  <a:srgbClr val="595959"/>
                </a:solidFill>
                <a:latin typeface="Open Sans Light" panose="020B0604020202020204" charset="0"/>
                <a:ea typeface="Open Sans Light" panose="020B0604020202020204" charset="0"/>
                <a:cs typeface="Open Sans Light" panose="020B0604020202020204" charset="0"/>
              </a:rPr>
              <a:t>ODS 10 – REDUÇÃO DAS DESIGUALDADES</a:t>
            </a:r>
          </a:p>
        </p:txBody>
      </p:sp>
      <p:sp>
        <p:nvSpPr>
          <p:cNvPr id="50" name="Divisa 188">
            <a:hlinkClick r:id="rId2" action="ppaction://hlinksldjump"/>
            <a:extLst>
              <a:ext uri="{FF2B5EF4-FFF2-40B4-BE49-F238E27FC236}">
                <a16:creationId xmlns:a16="http://schemas.microsoft.com/office/drawing/2014/main" id="{B1E15FAC-249E-4F47-88C5-A847934B6F32}"/>
              </a:ext>
            </a:extLst>
          </p:cNvPr>
          <p:cNvSpPr/>
          <p:nvPr/>
        </p:nvSpPr>
        <p:spPr>
          <a:xfrm rot="10800000">
            <a:off x="11900585" y="6456849"/>
            <a:ext cx="180000" cy="180000"/>
          </a:xfrm>
          <a:prstGeom prst="chevron">
            <a:avLst/>
          </a:prstGeom>
          <a:solidFill>
            <a:srgbClr val="A2D6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graphicFrame>
        <p:nvGraphicFramePr>
          <p:cNvPr id="59" name="Content Placeholder 5">
            <a:extLst>
              <a:ext uri="{FF2B5EF4-FFF2-40B4-BE49-F238E27FC236}">
                <a16:creationId xmlns:a16="http://schemas.microsoft.com/office/drawing/2014/main" id="{53795A31-0AC8-4C31-BF81-635CBBC59FF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45686223"/>
              </p:ext>
            </p:extLst>
          </p:nvPr>
        </p:nvGraphicFramePr>
        <p:xfrm>
          <a:off x="591705" y="2524614"/>
          <a:ext cx="6411933" cy="33727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9" name="Retângulo 28"/>
          <p:cNvSpPr/>
          <p:nvPr/>
        </p:nvSpPr>
        <p:spPr>
          <a:xfrm>
            <a:off x="111415" y="6427176"/>
            <a:ext cx="10207869" cy="3604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0" name="Imagem 41">
            <a:extLst>
              <a:ext uri="{FF2B5EF4-FFF2-40B4-BE49-F238E27FC236}">
                <a16:creationId xmlns:a16="http://schemas.microsoft.com/office/drawing/2014/main" id="{BD6871E7-AD67-4C45-BEF9-E16E7FE74F7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63"/>
          <a:stretch>
            <a:fillRect/>
          </a:stretch>
        </p:blipFill>
        <p:spPr bwMode="auto">
          <a:xfrm>
            <a:off x="1967838" y="1879685"/>
            <a:ext cx="215827" cy="16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CaixaDeTexto 30">
            <a:extLst>
              <a:ext uri="{FF2B5EF4-FFF2-40B4-BE49-F238E27FC236}">
                <a16:creationId xmlns:a16="http://schemas.microsoft.com/office/drawing/2014/main" id="{F152248E-7781-47DD-919F-9E1398404301}"/>
              </a:ext>
            </a:extLst>
          </p:cNvPr>
          <p:cNvSpPr txBox="1"/>
          <p:nvPr/>
        </p:nvSpPr>
        <p:spPr bwMode="auto">
          <a:xfrm>
            <a:off x="1240882" y="1830529"/>
            <a:ext cx="202679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544251">
              <a:defRPr/>
            </a:pPr>
            <a:r>
              <a:rPr lang="pt-BR" sz="1100" dirty="0">
                <a:solidFill>
                  <a:prstClr val="white">
                    <a:lumMod val="50000"/>
                  </a:prstClr>
                </a:solidFill>
                <a:latin typeface="Open Sans Light"/>
                <a:cs typeface="Arial" charset="0"/>
              </a:rPr>
              <a:t>Meta atingida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0590CD5A-7427-434E-8539-C69EF72820F0}"/>
              </a:ext>
            </a:extLst>
          </p:cNvPr>
          <p:cNvSpPr txBox="1"/>
          <p:nvPr/>
        </p:nvSpPr>
        <p:spPr>
          <a:xfrm>
            <a:off x="6808124" y="1150068"/>
            <a:ext cx="4792171" cy="4834283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850" tIns="54425" rIns="108850" bIns="54425">
            <a:spAutoFit/>
          </a:bodyPr>
          <a:lstStyle/>
          <a:p>
            <a:r>
              <a:rPr lang="pt-BR" sz="1600" b="1" dirty="0">
                <a:solidFill>
                  <a:schemeClr val="tx1"/>
                </a:solidFill>
                <a:ea typeface="+mn-ea"/>
                <a:cs typeface="+mn-cs"/>
              </a:rPr>
              <a:t>O indicador visa  medir a participação e a efetivação de mulheres e minorias raciais em posições gerenciais e processos sucessório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pt-BR" sz="800" dirty="0">
              <a:solidFill>
                <a:schemeClr val="tx1"/>
              </a:solidFill>
              <a:ea typeface="+mn-ea"/>
              <a:cs typeface="+mn-cs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1600" dirty="0">
                <a:solidFill>
                  <a:schemeClr val="tx1"/>
                </a:solidFill>
                <a:ea typeface="+mn-ea"/>
                <a:cs typeface="+mn-cs"/>
              </a:rPr>
              <a:t>108 pessoas do grupo de </a:t>
            </a:r>
            <a:r>
              <a:rPr lang="pt-BR" sz="1600" dirty="0" err="1">
                <a:solidFill>
                  <a:schemeClr val="tx1"/>
                </a:solidFill>
                <a:ea typeface="+mn-ea"/>
                <a:cs typeface="+mn-cs"/>
              </a:rPr>
              <a:t>minorizados</a:t>
            </a:r>
            <a:r>
              <a:rPr lang="pt-BR" sz="1600" dirty="0">
                <a:solidFill>
                  <a:schemeClr val="tx1"/>
                </a:solidFill>
                <a:ea typeface="+mn-ea"/>
                <a:cs typeface="+mn-cs"/>
              </a:rPr>
              <a:t> ocupam cargos gerenciais ou participaram de processos seletivos para cargos gerenciais em 2022 na Eletronuclear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pt-BR" sz="1600" dirty="0">
              <a:solidFill>
                <a:schemeClr val="tx1"/>
              </a:solidFill>
              <a:ea typeface="+mn-ea"/>
              <a:cs typeface="+mn-cs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1600" dirty="0">
                <a:solidFill>
                  <a:schemeClr val="tx1"/>
                </a:solidFill>
                <a:ea typeface="+mn-ea"/>
                <a:cs typeface="+mn-cs"/>
              </a:rPr>
              <a:t>Houve um avanço no indicador após a reestruturação da Empresa ocorrida em setembro de 2022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pt-BR" sz="1600" dirty="0">
              <a:solidFill>
                <a:schemeClr val="tx1"/>
              </a:solidFill>
              <a:ea typeface="+mn-ea"/>
              <a:cs typeface="+mn-cs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1600" dirty="0"/>
              <a:t>Iniciativas externas voluntárias: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pt-BR" sz="1600" dirty="0"/>
              <a:t>Programa Pró-equidade de Gênero e Raça coordenado pela Secretaria de Políticas para as Mulheres da Presidência da República </a:t>
            </a:r>
          </a:p>
          <a:p>
            <a:pPr marL="742950" lvl="2" indent="-285750">
              <a:buFont typeface="Courier New" panose="02070309020205020404" pitchFamily="49" charset="0"/>
              <a:buChar char="o"/>
            </a:pPr>
            <a:r>
              <a:rPr lang="pt-BR" sz="1600" dirty="0"/>
              <a:t>Termo de Suporte dos Princípios de Empoderamento das Mulheres (ONU).</a:t>
            </a:r>
          </a:p>
          <a:p>
            <a:endParaRPr lang="pt-BR" sz="1100" dirty="0"/>
          </a:p>
        </p:txBody>
      </p:sp>
    </p:spTree>
    <p:extLst>
      <p:ext uri="{BB962C8B-B14F-4D97-AF65-F5344CB8AC3E}">
        <p14:creationId xmlns:p14="http://schemas.microsoft.com/office/powerpoint/2010/main" val="23147014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ítulo 3">
            <a:extLst>
              <a:ext uri="{FF2B5EF4-FFF2-40B4-BE49-F238E27FC236}">
                <a16:creationId xmlns:a16="http://schemas.microsoft.com/office/drawing/2014/main" id="{5F2A9FFD-DE20-407D-9920-5E9FA81B21B1}"/>
              </a:ext>
            </a:extLst>
          </p:cNvPr>
          <p:cNvSpPr txBox="1">
            <a:spLocks/>
          </p:cNvSpPr>
          <p:nvPr/>
        </p:nvSpPr>
        <p:spPr>
          <a:xfrm>
            <a:off x="479397" y="51286"/>
            <a:ext cx="10657183" cy="817561"/>
          </a:xfrm>
          <a:prstGeom prst="rect">
            <a:avLst/>
          </a:prstGeom>
        </p:spPr>
        <p:txBody>
          <a:bodyPr anchor="b"/>
          <a:lstStyle>
            <a:lvl1pPr algn="ctr" defTabSz="1219170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2800" kern="800" spc="-53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BR" dirty="0">
                <a:solidFill>
                  <a:srgbClr val="595959"/>
                </a:solidFill>
                <a:latin typeface="Open Sans Light" panose="020B0604020202020204" charset="0"/>
                <a:ea typeface="Open Sans Light" panose="020B0604020202020204" charset="0"/>
                <a:cs typeface="Open Sans Light" panose="020B0604020202020204" charset="0"/>
              </a:rPr>
              <a:t>ODS 12 – CONSUMO E PRODUÇÃO SUSTENTÁVEIS</a:t>
            </a:r>
          </a:p>
        </p:txBody>
      </p:sp>
      <p:sp>
        <p:nvSpPr>
          <p:cNvPr id="50" name="Divisa 188">
            <a:hlinkClick r:id="rId2" action="ppaction://hlinksldjump"/>
            <a:extLst>
              <a:ext uri="{FF2B5EF4-FFF2-40B4-BE49-F238E27FC236}">
                <a16:creationId xmlns:a16="http://schemas.microsoft.com/office/drawing/2014/main" id="{B1E15FAC-249E-4F47-88C5-A847934B6F32}"/>
              </a:ext>
            </a:extLst>
          </p:cNvPr>
          <p:cNvSpPr/>
          <p:nvPr/>
        </p:nvSpPr>
        <p:spPr>
          <a:xfrm rot="10800000">
            <a:off x="5916000" y="6470101"/>
            <a:ext cx="180000" cy="180000"/>
          </a:xfrm>
          <a:prstGeom prst="chevron">
            <a:avLst/>
          </a:prstGeom>
          <a:solidFill>
            <a:srgbClr val="A2D6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sp>
        <p:nvSpPr>
          <p:cNvPr id="25" name="Title 1"/>
          <p:cNvSpPr txBox="1">
            <a:spLocks/>
          </p:cNvSpPr>
          <p:nvPr/>
        </p:nvSpPr>
        <p:spPr bwMode="auto">
          <a:xfrm>
            <a:off x="500183" y="1097973"/>
            <a:ext cx="5415816" cy="498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850" tIns="54425" rIns="108850" bIns="54425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8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33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9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defTabSz="542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defTabSz="542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defTabSz="542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defTabSz="542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pt-BR" altLang="pt-BR" sz="2000" dirty="0">
                <a:solidFill>
                  <a:srgbClr val="040404"/>
                </a:solidFill>
                <a:latin typeface="Calibri"/>
                <a:cs typeface="Arial" charset="0"/>
              </a:rPr>
              <a:t>Fornecedores submetidos a </a:t>
            </a:r>
            <a:r>
              <a:rPr lang="pt-BR" altLang="pt-BR" sz="2000" dirty="0" err="1">
                <a:solidFill>
                  <a:srgbClr val="040404"/>
                </a:solidFill>
                <a:latin typeface="Calibri"/>
                <a:cs typeface="Arial" charset="0"/>
              </a:rPr>
              <a:t>Due</a:t>
            </a:r>
            <a:r>
              <a:rPr lang="pt-BR" altLang="pt-BR" sz="2000" dirty="0">
                <a:solidFill>
                  <a:srgbClr val="040404"/>
                </a:solidFill>
                <a:latin typeface="Calibri"/>
                <a:cs typeface="Arial" charset="0"/>
              </a:rPr>
              <a:t> </a:t>
            </a:r>
            <a:r>
              <a:rPr lang="pt-BR" altLang="pt-BR" sz="2000" dirty="0" err="1">
                <a:solidFill>
                  <a:srgbClr val="040404"/>
                </a:solidFill>
                <a:latin typeface="Calibri"/>
                <a:cs typeface="Arial" charset="0"/>
              </a:rPr>
              <a:t>Diligence</a:t>
            </a:r>
            <a:r>
              <a:rPr lang="pt-BR" altLang="pt-BR" sz="2000" dirty="0">
                <a:solidFill>
                  <a:srgbClr val="040404"/>
                </a:solidFill>
                <a:latin typeface="Calibri"/>
                <a:cs typeface="Arial" charset="0"/>
              </a:rPr>
              <a:t> nos aspectos ESG</a:t>
            </a:r>
          </a:p>
        </p:txBody>
      </p:sp>
      <p:graphicFrame>
        <p:nvGraphicFramePr>
          <p:cNvPr id="35" name="Content Placeholder 5">
            <a:extLst>
              <a:ext uri="{FF2B5EF4-FFF2-40B4-BE49-F238E27FC236}">
                <a16:creationId xmlns:a16="http://schemas.microsoft.com/office/drawing/2014/main" id="{9C3BB043-A7FC-4A16-891F-2AA3E9EC893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32405429"/>
              </p:ext>
            </p:extLst>
          </p:nvPr>
        </p:nvGraphicFramePr>
        <p:xfrm>
          <a:off x="589227" y="2784614"/>
          <a:ext cx="6267263" cy="32608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38" name="Grupo 37"/>
          <p:cNvGrpSpPr/>
          <p:nvPr/>
        </p:nvGrpSpPr>
        <p:grpSpPr>
          <a:xfrm>
            <a:off x="703531" y="1974410"/>
            <a:ext cx="3019328" cy="282310"/>
            <a:chOff x="7593410" y="1169741"/>
            <a:chExt cx="1420658" cy="282310"/>
          </a:xfrm>
        </p:grpSpPr>
        <p:grpSp>
          <p:nvGrpSpPr>
            <p:cNvPr id="39" name="Grupo 31"/>
            <p:cNvGrpSpPr>
              <a:grpSpLocks/>
            </p:cNvGrpSpPr>
            <p:nvPr/>
          </p:nvGrpSpPr>
          <p:grpSpPr bwMode="auto">
            <a:xfrm>
              <a:off x="7593410" y="1169741"/>
              <a:ext cx="1142603" cy="261610"/>
              <a:chOff x="3477032" y="1670906"/>
              <a:chExt cx="1142802" cy="261442"/>
            </a:xfrm>
          </p:grpSpPr>
          <p:sp>
            <p:nvSpPr>
              <p:cNvPr id="44" name="Seta para baixo 43"/>
              <p:cNvSpPr/>
              <p:nvPr/>
            </p:nvSpPr>
            <p:spPr>
              <a:xfrm flipV="1">
                <a:off x="3477032" y="1724682"/>
                <a:ext cx="126228" cy="153890"/>
              </a:xfrm>
              <a:prstGeom prst="downArrow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544251">
                  <a:defRPr/>
                </a:pPr>
                <a:endParaRPr lang="pt-BR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CaixaDeTexto 45"/>
              <p:cNvSpPr txBox="1"/>
              <p:nvPr/>
            </p:nvSpPr>
            <p:spPr>
              <a:xfrm>
                <a:off x="3540146" y="1670906"/>
                <a:ext cx="1079688" cy="261442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defTabSz="544251">
                  <a:defRPr/>
                </a:pPr>
                <a:r>
                  <a:rPr lang="pt-BR" sz="1100" dirty="0">
                    <a:solidFill>
                      <a:prstClr val="white">
                        <a:lumMod val="50000"/>
                      </a:prstClr>
                    </a:solidFill>
                    <a:latin typeface="Open Sans Light"/>
                  </a:rPr>
                  <a:t>Melhor</a:t>
                </a:r>
              </a:p>
            </p:txBody>
          </p:sp>
        </p:grpSp>
        <p:sp>
          <p:nvSpPr>
            <p:cNvPr id="42" name="CaixaDeTexto 41"/>
            <p:cNvSpPr txBox="1"/>
            <p:nvPr/>
          </p:nvSpPr>
          <p:spPr bwMode="auto">
            <a:xfrm>
              <a:off x="8060418" y="1190441"/>
              <a:ext cx="953650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 defTabSz="544251">
                <a:defRPr/>
              </a:pPr>
              <a:r>
                <a:rPr lang="pt-BR" sz="1100" dirty="0">
                  <a:solidFill>
                    <a:prstClr val="white">
                      <a:lumMod val="50000"/>
                    </a:prstClr>
                  </a:solidFill>
                  <a:latin typeface="Open Sans Light"/>
                  <a:cs typeface="Arial" charset="0"/>
                </a:rPr>
                <a:t>Meta atingida</a:t>
              </a:r>
            </a:p>
          </p:txBody>
        </p:sp>
        <p:cxnSp>
          <p:nvCxnSpPr>
            <p:cNvPr id="43" name="Conector reto 42"/>
            <p:cNvCxnSpPr/>
            <p:nvPr/>
          </p:nvCxnSpPr>
          <p:spPr>
            <a:xfrm>
              <a:off x="8027958" y="1197078"/>
              <a:ext cx="0" cy="21600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9" name="Imagem 4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63"/>
          <a:stretch>
            <a:fillRect/>
          </a:stretch>
        </p:blipFill>
        <p:spPr bwMode="auto">
          <a:xfrm>
            <a:off x="2308597" y="2017304"/>
            <a:ext cx="215827" cy="16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tângulo 28"/>
          <p:cNvSpPr/>
          <p:nvPr/>
        </p:nvSpPr>
        <p:spPr>
          <a:xfrm>
            <a:off x="131884" y="6427176"/>
            <a:ext cx="10207869" cy="3604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1AA3E84E-9F66-4693-AFD8-4AD5806C917B}"/>
              </a:ext>
            </a:extLst>
          </p:cNvPr>
          <p:cNvSpPr txBox="1"/>
          <p:nvPr/>
        </p:nvSpPr>
        <p:spPr>
          <a:xfrm>
            <a:off x="6785114" y="1150068"/>
            <a:ext cx="4815182" cy="4826662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850" tIns="54425" rIns="108850" bIns="54425">
            <a:spAutoFit/>
          </a:bodyPr>
          <a:lstStyle/>
          <a:p>
            <a:pPr defTabSz="544251">
              <a:defRPr/>
            </a:pPr>
            <a:r>
              <a:rPr lang="pt-BR" sz="1600" b="1" dirty="0">
                <a:solidFill>
                  <a:srgbClr val="040404"/>
                </a:solidFill>
                <a:ea typeface="Verdana" pitchFamily="34" charset="0"/>
                <a:cs typeface="Verdana" pitchFamily="34" charset="0"/>
              </a:rPr>
              <a:t>Todos os 293 fornecedores contratados em 2022 passaram pelo processo de </a:t>
            </a:r>
            <a:r>
              <a:rPr lang="pt-BR" sz="1600" b="1" i="1" dirty="0" err="1">
                <a:solidFill>
                  <a:srgbClr val="040404"/>
                </a:solidFill>
                <a:ea typeface="Verdana" pitchFamily="34" charset="0"/>
                <a:cs typeface="Verdana" pitchFamily="34" charset="0"/>
              </a:rPr>
              <a:t>due</a:t>
            </a:r>
            <a:r>
              <a:rPr lang="pt-BR" sz="1600" b="1" i="1" dirty="0">
                <a:solidFill>
                  <a:srgbClr val="040404"/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pt-BR" sz="1600" b="1" i="1" dirty="0" err="1">
                <a:solidFill>
                  <a:srgbClr val="040404"/>
                </a:solidFill>
                <a:ea typeface="Verdana" pitchFamily="34" charset="0"/>
                <a:cs typeface="Verdana" pitchFamily="34" charset="0"/>
              </a:rPr>
              <a:t>diligence</a:t>
            </a:r>
            <a:r>
              <a:rPr lang="pt-BR" sz="1600" b="1" i="1" dirty="0">
                <a:solidFill>
                  <a:srgbClr val="040404"/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pt-BR" sz="1600" b="1" dirty="0">
                <a:solidFill>
                  <a:srgbClr val="040404"/>
                </a:solidFill>
                <a:ea typeface="Verdana" pitchFamily="34" charset="0"/>
                <a:cs typeface="Verdana" pitchFamily="34" charset="0"/>
              </a:rPr>
              <a:t>nos aspectos ESG.</a:t>
            </a:r>
          </a:p>
          <a:p>
            <a:pPr defTabSz="544251">
              <a:defRPr/>
            </a:pPr>
            <a:endParaRPr lang="pt-BR" sz="2000" dirty="0">
              <a:solidFill>
                <a:srgbClr val="040404"/>
              </a:solidFill>
              <a:ea typeface="Verdana" pitchFamily="34" charset="0"/>
              <a:cs typeface="Verdana" pitchFamily="34" charset="0"/>
            </a:endParaRPr>
          </a:p>
          <a:p>
            <a:pPr marL="171450" indent="-171450" defTabSz="544251">
              <a:buFont typeface="Wingdings" panose="05000000000000000000" pitchFamily="2" charset="2"/>
              <a:buChar char="§"/>
              <a:defRPr/>
            </a:pPr>
            <a:r>
              <a:rPr lang="pt-BR" sz="1400" dirty="0"/>
              <a:t>A Eletronuclear desempenha processo de </a:t>
            </a:r>
            <a:r>
              <a:rPr lang="pt-BR" sz="1400" i="1" dirty="0" err="1"/>
              <a:t>due</a:t>
            </a:r>
            <a:r>
              <a:rPr lang="pt-BR" sz="1400" i="1" dirty="0"/>
              <a:t> </a:t>
            </a:r>
            <a:r>
              <a:rPr lang="pt-BR" sz="1400" i="1" dirty="0" err="1"/>
              <a:t>diligence</a:t>
            </a:r>
            <a:r>
              <a:rPr lang="pt-BR" sz="1400" dirty="0"/>
              <a:t>, do ponto de vista de EESG, desde 2021, conforme orientado em seu plano estratégico. O processo inclui conhecer em detalhes o estágio de enquadramento dos fornecedores quanto a requisitos relacionados a direitos humanos, integridade e sustentabilidade.</a:t>
            </a:r>
          </a:p>
          <a:p>
            <a:pPr defTabSz="544251">
              <a:defRPr/>
            </a:pPr>
            <a:endParaRPr lang="pt-BR" sz="1400" dirty="0"/>
          </a:p>
          <a:p>
            <a:pPr marL="171450" indent="-171450" defTabSz="544251">
              <a:buFont typeface="Wingdings" panose="05000000000000000000" pitchFamily="2" charset="2"/>
              <a:buChar char="§"/>
              <a:defRPr/>
            </a:pPr>
            <a:r>
              <a:rPr lang="pt-BR" sz="1400" dirty="0"/>
              <a:t>Os processos de gestão de compras na Eletronuclear têm sua efetividade aferida simultaneamente por um conjunto de ferramentas dedicadas. </a:t>
            </a:r>
          </a:p>
          <a:p>
            <a:pPr defTabSz="544251">
              <a:defRPr/>
            </a:pPr>
            <a:endParaRPr lang="pt-BR" sz="1400" dirty="0"/>
          </a:p>
          <a:p>
            <a:pPr marL="171450" indent="-171450" defTabSz="544251">
              <a:buFont typeface="Wingdings" panose="05000000000000000000" pitchFamily="2" charset="2"/>
              <a:buChar char="§"/>
              <a:defRPr/>
            </a:pPr>
            <a:r>
              <a:rPr lang="pt-BR" sz="1400" dirty="0"/>
              <a:t>Há uma plataforma digital criada especificamente para facilitar o acesso a serviços e consultas, na qual, por meio da função “Fluxo de Gestão Comercial” (FGC), os colaboradores conseguem seguir, passo a passo, o fluxo completo de aquisição de bens e serviços.</a:t>
            </a:r>
          </a:p>
          <a:p>
            <a:endParaRPr lang="pt-BR" sz="1100" dirty="0"/>
          </a:p>
        </p:txBody>
      </p:sp>
    </p:spTree>
    <p:extLst>
      <p:ext uri="{BB962C8B-B14F-4D97-AF65-F5344CB8AC3E}">
        <p14:creationId xmlns:p14="http://schemas.microsoft.com/office/powerpoint/2010/main" val="29036368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4_Office Theme">
  <a:themeElements>
    <a:clrScheme name="Personalizada 9">
      <a:dk1>
        <a:srgbClr val="595959"/>
      </a:dk1>
      <a:lt1>
        <a:sysClr val="window" lastClr="FFFFFF"/>
      </a:lt1>
      <a:dk2>
        <a:srgbClr val="212745"/>
      </a:dk2>
      <a:lt2>
        <a:srgbClr val="B4DCFA"/>
      </a:lt2>
      <a:accent1>
        <a:srgbClr val="59A8D1"/>
      </a:accent1>
      <a:accent2>
        <a:srgbClr val="5DCEAF"/>
      </a:accent2>
      <a:accent3>
        <a:srgbClr val="CAD82A"/>
      </a:accent3>
      <a:accent4>
        <a:srgbClr val="B2C441"/>
      </a:accent4>
      <a:accent5>
        <a:srgbClr val="00B050"/>
      </a:accent5>
      <a:accent6>
        <a:srgbClr val="5DCEAF"/>
      </a:accent6>
      <a:hlink>
        <a:srgbClr val="56C7AA"/>
      </a:hlink>
      <a:folHlink>
        <a:srgbClr val="59A8D1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Personalizada 9">
      <a:dk1>
        <a:srgbClr val="595959"/>
      </a:dk1>
      <a:lt1>
        <a:sysClr val="window" lastClr="FFFFFF"/>
      </a:lt1>
      <a:dk2>
        <a:srgbClr val="212745"/>
      </a:dk2>
      <a:lt2>
        <a:srgbClr val="B4DCFA"/>
      </a:lt2>
      <a:accent1>
        <a:srgbClr val="59A8D1"/>
      </a:accent1>
      <a:accent2>
        <a:srgbClr val="5DCEAF"/>
      </a:accent2>
      <a:accent3>
        <a:srgbClr val="CAD82A"/>
      </a:accent3>
      <a:accent4>
        <a:srgbClr val="B2C441"/>
      </a:accent4>
      <a:accent5>
        <a:srgbClr val="00B050"/>
      </a:accent5>
      <a:accent6>
        <a:srgbClr val="5DCEAF"/>
      </a:accent6>
      <a:hlink>
        <a:srgbClr val="56C7AA"/>
      </a:hlink>
      <a:folHlink>
        <a:srgbClr val="59A8D1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BCG Grid 16:9">
  <a:themeElements>
    <a:clrScheme name="Electrobas Grid 16:9">
      <a:dk1>
        <a:srgbClr val="575757"/>
      </a:dk1>
      <a:lt1>
        <a:sysClr val="window" lastClr="FFFFFF"/>
      </a:lt1>
      <a:dk2>
        <a:srgbClr val="0079C3"/>
      </a:dk2>
      <a:lt2>
        <a:srgbClr val="F2F2F2"/>
      </a:lt2>
      <a:accent1>
        <a:srgbClr val="003C61"/>
      </a:accent1>
      <a:accent2>
        <a:srgbClr val="004E7E"/>
      </a:accent2>
      <a:accent3>
        <a:srgbClr val="D6E149"/>
      </a:accent3>
      <a:accent4>
        <a:srgbClr val="294053"/>
      </a:accent4>
      <a:accent5>
        <a:srgbClr val="6E6E6E"/>
      </a:accent5>
      <a:accent6>
        <a:srgbClr val="25768E"/>
      </a:accent6>
      <a:hlink>
        <a:srgbClr val="00552D"/>
      </a:hlink>
      <a:folHlink>
        <a:srgbClr val="0055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79C3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1.2_PDNG - Claro - Abertuas Decoradas">
  <a:themeElements>
    <a:clrScheme name="PDNG">
      <a:dk1>
        <a:srgbClr val="222224"/>
      </a:dk1>
      <a:lt1>
        <a:sysClr val="window" lastClr="FFFFFF"/>
      </a:lt1>
      <a:dk2>
        <a:srgbClr val="1C5686"/>
      </a:dk2>
      <a:lt2>
        <a:srgbClr val="22658C"/>
      </a:lt2>
      <a:accent1>
        <a:srgbClr val="CAD82A"/>
      </a:accent1>
      <a:accent2>
        <a:srgbClr val="B2C441"/>
      </a:accent2>
      <a:accent3>
        <a:srgbClr val="8EB240"/>
      </a:accent3>
      <a:accent4>
        <a:srgbClr val="649E4A"/>
      </a:accent4>
      <a:accent5>
        <a:srgbClr val="378966"/>
      </a:accent5>
      <a:accent6>
        <a:srgbClr val="197585"/>
      </a:accent6>
      <a:hlink>
        <a:srgbClr val="7030A0"/>
      </a:hlink>
      <a:folHlink>
        <a:srgbClr val="00B0F0"/>
      </a:folHlink>
    </a:clrScheme>
    <a:fontScheme name="Custom 3">
      <a:majorFont>
        <a:latin typeface="Open Sans Light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6_Office Theme">
  <a:themeElements>
    <a:clrScheme name="Personalizada 9">
      <a:dk1>
        <a:srgbClr val="595959"/>
      </a:dk1>
      <a:lt1>
        <a:sysClr val="window" lastClr="FFFFFF"/>
      </a:lt1>
      <a:dk2>
        <a:srgbClr val="212745"/>
      </a:dk2>
      <a:lt2>
        <a:srgbClr val="B4DCFA"/>
      </a:lt2>
      <a:accent1>
        <a:srgbClr val="59A8D1"/>
      </a:accent1>
      <a:accent2>
        <a:srgbClr val="5DCEAF"/>
      </a:accent2>
      <a:accent3>
        <a:srgbClr val="CAD82A"/>
      </a:accent3>
      <a:accent4>
        <a:srgbClr val="B2C441"/>
      </a:accent4>
      <a:accent5>
        <a:srgbClr val="00B050"/>
      </a:accent5>
      <a:accent6>
        <a:srgbClr val="5DCEAF"/>
      </a:accent6>
      <a:hlink>
        <a:srgbClr val="56C7AA"/>
      </a:hlink>
      <a:folHlink>
        <a:srgbClr val="59A8D1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0_Office Theme">
  <a:themeElements>
    <a:clrScheme name="Personalizada 9">
      <a:dk1>
        <a:srgbClr val="595959"/>
      </a:dk1>
      <a:lt1>
        <a:sysClr val="window" lastClr="FFFFFF"/>
      </a:lt1>
      <a:dk2>
        <a:srgbClr val="212745"/>
      </a:dk2>
      <a:lt2>
        <a:srgbClr val="B4DCFA"/>
      </a:lt2>
      <a:accent1>
        <a:srgbClr val="59A8D1"/>
      </a:accent1>
      <a:accent2>
        <a:srgbClr val="5DCEAF"/>
      </a:accent2>
      <a:accent3>
        <a:srgbClr val="CAD82A"/>
      </a:accent3>
      <a:accent4>
        <a:srgbClr val="B2C441"/>
      </a:accent4>
      <a:accent5>
        <a:srgbClr val="00B050"/>
      </a:accent5>
      <a:accent6>
        <a:srgbClr val="5DCEAF"/>
      </a:accent6>
      <a:hlink>
        <a:srgbClr val="56C7AA"/>
      </a:hlink>
      <a:folHlink>
        <a:srgbClr val="59A8D1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6_Office Theme">
  <a:themeElements>
    <a:clrScheme name="Personalizada 9">
      <a:dk1>
        <a:srgbClr val="595959"/>
      </a:dk1>
      <a:lt1>
        <a:sysClr val="window" lastClr="FFFFFF"/>
      </a:lt1>
      <a:dk2>
        <a:srgbClr val="212745"/>
      </a:dk2>
      <a:lt2>
        <a:srgbClr val="B4DCFA"/>
      </a:lt2>
      <a:accent1>
        <a:srgbClr val="59A8D1"/>
      </a:accent1>
      <a:accent2>
        <a:srgbClr val="5DCEAF"/>
      </a:accent2>
      <a:accent3>
        <a:srgbClr val="CAD82A"/>
      </a:accent3>
      <a:accent4>
        <a:srgbClr val="B2C441"/>
      </a:accent4>
      <a:accent5>
        <a:srgbClr val="00B050"/>
      </a:accent5>
      <a:accent6>
        <a:srgbClr val="5DCEAF"/>
      </a:accent6>
      <a:hlink>
        <a:srgbClr val="56C7AA"/>
      </a:hlink>
      <a:folHlink>
        <a:srgbClr val="59A8D1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PDNG">
    <a:dk1>
      <a:srgbClr val="222224"/>
    </a:dk1>
    <a:lt1>
      <a:sysClr val="window" lastClr="FFFFFF"/>
    </a:lt1>
    <a:dk2>
      <a:srgbClr val="1C5686"/>
    </a:dk2>
    <a:lt2>
      <a:srgbClr val="22658C"/>
    </a:lt2>
    <a:accent1>
      <a:srgbClr val="CAD82A"/>
    </a:accent1>
    <a:accent2>
      <a:srgbClr val="B2C441"/>
    </a:accent2>
    <a:accent3>
      <a:srgbClr val="8EB240"/>
    </a:accent3>
    <a:accent4>
      <a:srgbClr val="649E4A"/>
    </a:accent4>
    <a:accent5>
      <a:srgbClr val="378966"/>
    </a:accent5>
    <a:accent6>
      <a:srgbClr val="197585"/>
    </a:accent6>
    <a:hlink>
      <a:srgbClr val="7030A0"/>
    </a:hlink>
    <a:folHlink>
      <a:srgbClr val="00B0F0"/>
    </a:folHlink>
  </a:clrScheme>
  <a:fontScheme name="Custom 3">
    <a:majorFont>
      <a:latin typeface="Open Sans Light"/>
      <a:ea typeface=""/>
      <a:cs typeface=""/>
    </a:majorFont>
    <a:minorFont>
      <a:latin typeface="Open Sans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PDNG">
    <a:dk1>
      <a:srgbClr val="222224"/>
    </a:dk1>
    <a:lt1>
      <a:sysClr val="window" lastClr="FFFFFF"/>
    </a:lt1>
    <a:dk2>
      <a:srgbClr val="1C5686"/>
    </a:dk2>
    <a:lt2>
      <a:srgbClr val="22658C"/>
    </a:lt2>
    <a:accent1>
      <a:srgbClr val="CAD82A"/>
    </a:accent1>
    <a:accent2>
      <a:srgbClr val="B2C441"/>
    </a:accent2>
    <a:accent3>
      <a:srgbClr val="8EB240"/>
    </a:accent3>
    <a:accent4>
      <a:srgbClr val="649E4A"/>
    </a:accent4>
    <a:accent5>
      <a:srgbClr val="378966"/>
    </a:accent5>
    <a:accent6>
      <a:srgbClr val="197585"/>
    </a:accent6>
    <a:hlink>
      <a:srgbClr val="7030A0"/>
    </a:hlink>
    <a:folHlink>
      <a:srgbClr val="00B0F0"/>
    </a:folHlink>
  </a:clrScheme>
  <a:fontScheme name="Custom 3">
    <a:majorFont>
      <a:latin typeface="Open Sans Light"/>
      <a:ea typeface=""/>
      <a:cs typeface=""/>
    </a:majorFont>
    <a:minorFont>
      <a:latin typeface="Open Sans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PDNG">
    <a:dk1>
      <a:srgbClr val="222224"/>
    </a:dk1>
    <a:lt1>
      <a:sysClr val="window" lastClr="FFFFFF"/>
    </a:lt1>
    <a:dk2>
      <a:srgbClr val="1C5686"/>
    </a:dk2>
    <a:lt2>
      <a:srgbClr val="22658C"/>
    </a:lt2>
    <a:accent1>
      <a:srgbClr val="CAD82A"/>
    </a:accent1>
    <a:accent2>
      <a:srgbClr val="B2C441"/>
    </a:accent2>
    <a:accent3>
      <a:srgbClr val="8EB240"/>
    </a:accent3>
    <a:accent4>
      <a:srgbClr val="649E4A"/>
    </a:accent4>
    <a:accent5>
      <a:srgbClr val="378966"/>
    </a:accent5>
    <a:accent6>
      <a:srgbClr val="197585"/>
    </a:accent6>
    <a:hlink>
      <a:srgbClr val="7030A0"/>
    </a:hlink>
    <a:folHlink>
      <a:srgbClr val="00B0F0"/>
    </a:folHlink>
  </a:clrScheme>
  <a:fontScheme name="Custom 3">
    <a:majorFont>
      <a:latin typeface="Open Sans Light"/>
      <a:ea typeface=""/>
      <a:cs typeface=""/>
    </a:majorFont>
    <a:minorFont>
      <a:latin typeface="Open Sans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PDNG">
    <a:dk1>
      <a:srgbClr val="222224"/>
    </a:dk1>
    <a:lt1>
      <a:sysClr val="window" lastClr="FFFFFF"/>
    </a:lt1>
    <a:dk2>
      <a:srgbClr val="1C5686"/>
    </a:dk2>
    <a:lt2>
      <a:srgbClr val="22658C"/>
    </a:lt2>
    <a:accent1>
      <a:srgbClr val="CAD82A"/>
    </a:accent1>
    <a:accent2>
      <a:srgbClr val="B2C441"/>
    </a:accent2>
    <a:accent3>
      <a:srgbClr val="8EB240"/>
    </a:accent3>
    <a:accent4>
      <a:srgbClr val="649E4A"/>
    </a:accent4>
    <a:accent5>
      <a:srgbClr val="378966"/>
    </a:accent5>
    <a:accent6>
      <a:srgbClr val="197585"/>
    </a:accent6>
    <a:hlink>
      <a:srgbClr val="7030A0"/>
    </a:hlink>
    <a:folHlink>
      <a:srgbClr val="00B0F0"/>
    </a:folHlink>
  </a:clrScheme>
  <a:fontScheme name="Custom 3">
    <a:majorFont>
      <a:latin typeface="Open Sans Light"/>
      <a:ea typeface=""/>
      <a:cs typeface=""/>
    </a:majorFont>
    <a:minorFont>
      <a:latin typeface="Open Sans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PDNG">
    <a:dk1>
      <a:srgbClr val="222224"/>
    </a:dk1>
    <a:lt1>
      <a:sysClr val="window" lastClr="FFFFFF"/>
    </a:lt1>
    <a:dk2>
      <a:srgbClr val="1C5686"/>
    </a:dk2>
    <a:lt2>
      <a:srgbClr val="22658C"/>
    </a:lt2>
    <a:accent1>
      <a:srgbClr val="CAD82A"/>
    </a:accent1>
    <a:accent2>
      <a:srgbClr val="B2C441"/>
    </a:accent2>
    <a:accent3>
      <a:srgbClr val="8EB240"/>
    </a:accent3>
    <a:accent4>
      <a:srgbClr val="649E4A"/>
    </a:accent4>
    <a:accent5>
      <a:srgbClr val="378966"/>
    </a:accent5>
    <a:accent6>
      <a:srgbClr val="197585"/>
    </a:accent6>
    <a:hlink>
      <a:srgbClr val="7030A0"/>
    </a:hlink>
    <a:folHlink>
      <a:srgbClr val="00B0F0"/>
    </a:folHlink>
  </a:clrScheme>
  <a:fontScheme name="Custom 3">
    <a:majorFont>
      <a:latin typeface="Open Sans Light"/>
      <a:ea typeface=""/>
      <a:cs typeface=""/>
    </a:majorFont>
    <a:minorFont>
      <a:latin typeface="Open Sans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PDNG">
    <a:dk1>
      <a:srgbClr val="222224"/>
    </a:dk1>
    <a:lt1>
      <a:sysClr val="window" lastClr="FFFFFF"/>
    </a:lt1>
    <a:dk2>
      <a:srgbClr val="1C5686"/>
    </a:dk2>
    <a:lt2>
      <a:srgbClr val="22658C"/>
    </a:lt2>
    <a:accent1>
      <a:srgbClr val="CAD82A"/>
    </a:accent1>
    <a:accent2>
      <a:srgbClr val="B2C441"/>
    </a:accent2>
    <a:accent3>
      <a:srgbClr val="8EB240"/>
    </a:accent3>
    <a:accent4>
      <a:srgbClr val="649E4A"/>
    </a:accent4>
    <a:accent5>
      <a:srgbClr val="378966"/>
    </a:accent5>
    <a:accent6>
      <a:srgbClr val="197585"/>
    </a:accent6>
    <a:hlink>
      <a:srgbClr val="7030A0"/>
    </a:hlink>
    <a:folHlink>
      <a:srgbClr val="00B0F0"/>
    </a:folHlink>
  </a:clrScheme>
  <a:fontScheme name="Custom 3">
    <a:majorFont>
      <a:latin typeface="Open Sans Light"/>
      <a:ea typeface=""/>
      <a:cs typeface=""/>
    </a:majorFont>
    <a:minorFont>
      <a:latin typeface="Open Sans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PDNG">
    <a:dk1>
      <a:srgbClr val="222224"/>
    </a:dk1>
    <a:lt1>
      <a:sysClr val="window" lastClr="FFFFFF"/>
    </a:lt1>
    <a:dk2>
      <a:srgbClr val="1C5686"/>
    </a:dk2>
    <a:lt2>
      <a:srgbClr val="22658C"/>
    </a:lt2>
    <a:accent1>
      <a:srgbClr val="CAD82A"/>
    </a:accent1>
    <a:accent2>
      <a:srgbClr val="B2C441"/>
    </a:accent2>
    <a:accent3>
      <a:srgbClr val="8EB240"/>
    </a:accent3>
    <a:accent4>
      <a:srgbClr val="649E4A"/>
    </a:accent4>
    <a:accent5>
      <a:srgbClr val="378966"/>
    </a:accent5>
    <a:accent6>
      <a:srgbClr val="197585"/>
    </a:accent6>
    <a:hlink>
      <a:srgbClr val="7030A0"/>
    </a:hlink>
    <a:folHlink>
      <a:srgbClr val="00B0F0"/>
    </a:folHlink>
  </a:clrScheme>
  <a:fontScheme name="Custom 3">
    <a:majorFont>
      <a:latin typeface="Open Sans Light"/>
      <a:ea typeface=""/>
      <a:cs typeface=""/>
    </a:majorFont>
    <a:minorFont>
      <a:latin typeface="Open Sans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PDNG">
    <a:dk1>
      <a:srgbClr val="222224"/>
    </a:dk1>
    <a:lt1>
      <a:sysClr val="window" lastClr="FFFFFF"/>
    </a:lt1>
    <a:dk2>
      <a:srgbClr val="1C5686"/>
    </a:dk2>
    <a:lt2>
      <a:srgbClr val="22658C"/>
    </a:lt2>
    <a:accent1>
      <a:srgbClr val="CAD82A"/>
    </a:accent1>
    <a:accent2>
      <a:srgbClr val="B2C441"/>
    </a:accent2>
    <a:accent3>
      <a:srgbClr val="8EB240"/>
    </a:accent3>
    <a:accent4>
      <a:srgbClr val="649E4A"/>
    </a:accent4>
    <a:accent5>
      <a:srgbClr val="378966"/>
    </a:accent5>
    <a:accent6>
      <a:srgbClr val="197585"/>
    </a:accent6>
    <a:hlink>
      <a:srgbClr val="7030A0"/>
    </a:hlink>
    <a:folHlink>
      <a:srgbClr val="00B0F0"/>
    </a:folHlink>
  </a:clrScheme>
  <a:fontScheme name="Custom 3">
    <a:majorFont>
      <a:latin typeface="Open Sans Light"/>
      <a:ea typeface=""/>
      <a:cs typeface=""/>
    </a:majorFont>
    <a:minorFont>
      <a:latin typeface="Open Sans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E615544F2915364B973347088E40FD67" ma:contentTypeVersion="3" ma:contentTypeDescription="Crie um novo documento." ma:contentTypeScope="" ma:versionID="ba69b5550b1f43302fbeb612cea2437d">
  <xsd:schema xmlns:xsd="http://www.w3.org/2001/XMLSchema" xmlns:xs="http://www.w3.org/2001/XMLSchema" xmlns:p="http://schemas.microsoft.com/office/2006/metadata/properties" xmlns:ns1="http://schemas.microsoft.com/sharepoint/v3" xmlns:ns2="6daffa36-508b-46f6-b1e7-b68e4f74c0c3" targetNamespace="http://schemas.microsoft.com/office/2006/metadata/properties" ma:root="true" ma:fieldsID="e557f50445866cb4d55a111129f4561f" ns1:_="" ns2:_="">
    <xsd:import namespace="http://schemas.microsoft.com/sharepoint/v3"/>
    <xsd:import namespace="6daffa36-508b-46f6-b1e7-b68e4f74c0c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Categoria" minOccurs="0"/>
                <xsd:element ref="ns2:Ordem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Agendamento de Data de Início" ma:description="Data de Início de Agendamento é uma coluna de site criada pelo recurso de Publicação. Ela é usada para especificar a data e hora em que essa página aparecerá pela primeira vez aos visitantes do site." ma:hidden="true" ma:internalName="PublishingStartDate">
      <xsd:simpleType>
        <xsd:restriction base="dms:Unknown"/>
      </xsd:simpleType>
    </xsd:element>
    <xsd:element name="PublishingExpirationDate" ma:index="9" nillable="true" ma:displayName="Agendamento de Data de Término" ma:description="Data Final de Agendamento é uma coluna de site criada pelo recurso de Publicação. Ela é usada para especificar a data e a hora em que essa página não será mais exibida aos visitantes do site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affa36-508b-46f6-b1e7-b68e4f74c0c3" elementFormDefault="qualified">
    <xsd:import namespace="http://schemas.microsoft.com/office/2006/documentManagement/types"/>
    <xsd:import namespace="http://schemas.microsoft.com/office/infopath/2007/PartnerControls"/>
    <xsd:element name="Categoria" ma:index="10" nillable="true" ma:displayName="Categoria" ma:default="Categoria 1" ma:format="Dropdown" ma:internalName="Categoria">
      <xsd:simpleType>
        <xsd:restriction base="dms:Choice">
          <xsd:enumeration value="Categoria 1"/>
          <xsd:enumeration value="Categoria 2"/>
          <xsd:enumeration value="Categoria 3"/>
          <xsd:enumeration value="Categoria 4"/>
        </xsd:restriction>
      </xsd:simpleType>
    </xsd:element>
    <xsd:element name="Ordem" ma:index="11" nillable="true" ma:displayName="Ordem" ma:internalName="Ordem">
      <xsd:simpleType>
        <xsd:restriction base="dms:Number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ia xmlns="6daffa36-508b-46f6-b1e7-b68e4f74c0c3">Categoria 1</Categoria>
    <PublishingExpirationDate xmlns="http://schemas.microsoft.com/sharepoint/v3" xsi:nil="true"/>
    <PublishingStartDate xmlns="http://schemas.microsoft.com/sharepoint/v3" xsi:nil="true"/>
    <Ordem xmlns="6daffa36-508b-46f6-b1e7-b68e4f74c0c3">0</Ordem>
  </documentManagement>
</p:properties>
</file>

<file path=customXml/itemProps1.xml><?xml version="1.0" encoding="utf-8"?>
<ds:datastoreItem xmlns:ds="http://schemas.openxmlformats.org/officeDocument/2006/customXml" ds:itemID="{F9A28315-51FD-4967-A572-70E8C3A271A1}"/>
</file>

<file path=customXml/itemProps2.xml><?xml version="1.0" encoding="utf-8"?>
<ds:datastoreItem xmlns:ds="http://schemas.openxmlformats.org/officeDocument/2006/customXml" ds:itemID="{87133671-3914-4114-AB74-1DB3FF47B7F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7C2ADEE-E906-418C-8043-A85CFC7755ED}">
  <ds:schemaRefs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a91d410a-7a81-4ee0-a133-82824b3dbb2c"/>
    <ds:schemaRef ds:uri="http://purl.org/dc/terms/"/>
    <ds:schemaRef ds:uri="http://purl.org/dc/elements/1.1/"/>
    <ds:schemaRef ds:uri="http://schemas.microsoft.com/office/infopath/2007/PartnerControls"/>
    <ds:schemaRef ds:uri="c7494ce6-79b7-4a24-8f79-27336eab1745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0439</TotalTime>
  <Words>1735</Words>
  <Application>Microsoft Office PowerPoint</Application>
  <PresentationFormat>Widescreen</PresentationFormat>
  <Paragraphs>208</Paragraphs>
  <Slides>12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11</vt:i4>
      </vt:variant>
      <vt:variant>
        <vt:lpstr>Tema</vt:lpstr>
      </vt:variant>
      <vt:variant>
        <vt:i4>7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2</vt:i4>
      </vt:variant>
    </vt:vector>
  </HeadingPairs>
  <TitlesOfParts>
    <vt:vector size="31" baseType="lpstr">
      <vt:lpstr>Open Sans Light</vt:lpstr>
      <vt:lpstr>Calibri</vt:lpstr>
      <vt:lpstr>Wingdings</vt:lpstr>
      <vt:lpstr>Segoe UI Black</vt:lpstr>
      <vt:lpstr>Courier New</vt:lpstr>
      <vt:lpstr>Helvetica</vt:lpstr>
      <vt:lpstr>Trebuchet MS</vt:lpstr>
      <vt:lpstr>Arial</vt:lpstr>
      <vt:lpstr>Gadugi</vt:lpstr>
      <vt:lpstr>Century Gothic</vt:lpstr>
      <vt:lpstr>Calibri Light</vt:lpstr>
      <vt:lpstr>4_Office Theme</vt:lpstr>
      <vt:lpstr>3_Office Theme</vt:lpstr>
      <vt:lpstr>BCG Grid 16:9</vt:lpstr>
      <vt:lpstr>1.2_PDNG - Claro - Abertuas Decoradas</vt:lpstr>
      <vt:lpstr>6_Office Theme</vt:lpstr>
      <vt:lpstr>10_Office Theme</vt:lpstr>
      <vt:lpstr>16_Office Them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latorio Indicadores Agenda 2030 2022</dc:title>
  <dc:creator>Riyan PC</dc:creator>
  <cp:lastModifiedBy>Marcos Vinicius Cunha Oliveira</cp:lastModifiedBy>
  <cp:revision>2582</cp:revision>
  <cp:lastPrinted>2023-04-13T19:26:10Z</cp:lastPrinted>
  <dcterms:created xsi:type="dcterms:W3CDTF">2017-12-19T19:12:56Z</dcterms:created>
  <dcterms:modified xsi:type="dcterms:W3CDTF">2023-05-19T14:27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615544F2915364B973347088E40FD67</vt:lpwstr>
  </property>
</Properties>
</file>